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7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8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9.xml" ContentType="application/vnd.openxmlformats-officedocument.theme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6" r:id="rId2"/>
    <p:sldMasterId id="2147483704" r:id="rId3"/>
    <p:sldMasterId id="2147483738" r:id="rId4"/>
    <p:sldMasterId id="2147483778" r:id="rId5"/>
    <p:sldMasterId id="2147483815" r:id="rId6"/>
    <p:sldMasterId id="2147483819" r:id="rId7"/>
    <p:sldMasterId id="2147483863" r:id="rId8"/>
    <p:sldMasterId id="2147483876" r:id="rId9"/>
    <p:sldMasterId id="2147483888" r:id="rId10"/>
  </p:sldMasterIdLst>
  <p:notesMasterIdLst>
    <p:notesMasterId r:id="rId26"/>
  </p:notesMasterIdLst>
  <p:sldIdLst>
    <p:sldId id="3078" r:id="rId11"/>
    <p:sldId id="3052" r:id="rId12"/>
    <p:sldId id="3111" r:id="rId13"/>
    <p:sldId id="1307" r:id="rId14"/>
    <p:sldId id="7572" r:id="rId15"/>
    <p:sldId id="7420" r:id="rId16"/>
    <p:sldId id="7576" r:id="rId17"/>
    <p:sldId id="7573" r:id="rId18"/>
    <p:sldId id="7407" r:id="rId19"/>
    <p:sldId id="3350" r:id="rId20"/>
    <p:sldId id="2142532251" r:id="rId21"/>
    <p:sldId id="2142532252" r:id="rId22"/>
    <p:sldId id="305" r:id="rId23"/>
    <p:sldId id="7414" r:id="rId24"/>
    <p:sldId id="3069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76BC"/>
    <a:srgbClr val="432F91"/>
    <a:srgbClr val="0F173C"/>
    <a:srgbClr val="01A2AC"/>
    <a:srgbClr val="12173C"/>
    <a:srgbClr val="6D2352"/>
    <a:srgbClr val="76D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746"/>
    <p:restoredTop sz="95646"/>
  </p:normalViewPr>
  <p:slideViewPr>
    <p:cSldViewPr snapToGrid="0" snapToObjects="1">
      <p:cViewPr>
        <p:scale>
          <a:sx n="74" d="100"/>
          <a:sy n="74" d="100"/>
        </p:scale>
        <p:origin x="1624" y="1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C8211A-FAE4-BC4E-8DA5-0B2A96CE0E4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6886-BBB4-3A49-B5A1-7596055DF1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520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4B6886-BBB4-3A49-B5A1-7596055DF13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773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988AF-9D63-4871-B031-756E006CFD7D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962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4B6886-BBB4-3A49-B5A1-7596055DF13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886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6546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1539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988AF-9D63-4871-B031-756E006CFD7D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745825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C1DC55-D1D2-49C0-A2EC-5F7A272CEE0A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71452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4B6886-BBB4-3A49-B5A1-7596055DF13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453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NUL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4731" y="4926525"/>
            <a:ext cx="3166735" cy="96407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4356340"/>
          </a:xfrm>
          <a:prstGeom prst="rect">
            <a:avLst/>
          </a:prstGeom>
          <a:solidFill>
            <a:srgbClr val="007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31813" y="1237202"/>
            <a:ext cx="5657850" cy="1279525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44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6" lvl="0" indent="-571500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/>
              <a:t>PRESENTATION </a:t>
            </a:r>
          </a:p>
          <a:p>
            <a:pPr marL="342906" lvl="0" indent="-571500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/>
              <a:t>TITLE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529114" y="2812354"/>
            <a:ext cx="6301596" cy="0"/>
          </a:xfrm>
          <a:prstGeom prst="line">
            <a:avLst/>
          </a:prstGeom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31813" y="2947460"/>
            <a:ext cx="5657850" cy="1279525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lang="en-US" sz="36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228606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342906" lvl="0" indent="-57150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Subhead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31813" y="5192945"/>
            <a:ext cx="2811462" cy="8969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IN" dirty="0"/>
              <a:t>Insert Additional Logo(s) Required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31812" y="4554717"/>
            <a:ext cx="2811463" cy="562803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2000" b="1" smtClean="0">
                <a:solidFill>
                  <a:srgbClr val="0072BA"/>
                </a:solidFill>
                <a:latin typeface="+mj-lt"/>
                <a:ea typeface="+mj-ea"/>
                <a:cs typeface="+mj-cs"/>
              </a:defRPr>
            </a:lvl1pPr>
            <a:lvl2pPr marL="228606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228606" lvl="0" indent="-45720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Click to edit </a:t>
            </a:r>
          </a:p>
        </p:txBody>
      </p:sp>
    </p:spTree>
    <p:extLst>
      <p:ext uri="{BB962C8B-B14F-4D97-AF65-F5344CB8AC3E}">
        <p14:creationId xmlns:p14="http://schemas.microsoft.com/office/powerpoint/2010/main" val="365833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9195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05109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317866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5339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1999436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9505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9052989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94446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82745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259230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8952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7749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BCEC0-DA4A-E342-9BAC-EB1D61DB53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3625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ig text only (48 pt)">
  <p:cSld name="1_Big text only (48 pt)">
    <p:bg>
      <p:bgPr>
        <a:solidFill>
          <a:schemeClr val="accent3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21"/>
          <p:cNvSpPr txBox="1">
            <a:spLocks noGrp="1"/>
          </p:cNvSpPr>
          <p:nvPr>
            <p:ph type="sldNum" idx="12"/>
          </p:nvPr>
        </p:nvSpPr>
        <p:spPr>
          <a:xfrm>
            <a:off x="460109" y="6456704"/>
            <a:ext cx="102400" cy="1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125" name="Google Shape;125;p21" descr="Picture 49"/>
          <p:cNvPicPr preferRelativeResize="0"/>
          <p:nvPr/>
        </p:nvPicPr>
        <p:blipFill rotWithShape="1">
          <a:blip r:embed="rId2" cstate="screen">
            <a:alphaModFix amt="586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00085" y="536045"/>
            <a:ext cx="6792000" cy="632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6381586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6" name="Picture 5" descr="ibm_gry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324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9203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8509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05976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386448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51749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91137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04961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02615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001726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589609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315840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59903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299047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498714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92812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666264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18116510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8854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59812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79673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56033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222865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95812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63116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58064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7109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39315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62962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2802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8906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1102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15189965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30869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56051066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01438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863792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910800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09053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BCEC0-DA4A-E342-9BAC-EB1D61DB53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15663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58634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333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83368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539918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002948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5653682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86884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8318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078737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89607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774573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2392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5123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73163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70499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85804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12891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6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1547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84077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2639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53572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43224"/>
            <a:ext cx="27432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87297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12803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6010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2151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86054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90460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07403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639948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040517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14704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6542909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01120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6605130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654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32071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97122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77782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64682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5613564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69B53-C044-E849-A656-B0C242E05C40}" type="datetimeFigureOut">
              <a:rPr lang="en-US" smtClean="0"/>
              <a:t>5/12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BCEC0-DA4A-E342-9BAC-EB1D61DB53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76009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ig text only (48 pt)">
  <p:cSld name="1_Big text only (48 pt)">
    <p:bg>
      <p:bgPr>
        <a:solidFill>
          <a:schemeClr val="accent3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21"/>
          <p:cNvSpPr txBox="1">
            <a:spLocks noGrp="1"/>
          </p:cNvSpPr>
          <p:nvPr>
            <p:ph type="sldNum" idx="12"/>
          </p:nvPr>
        </p:nvSpPr>
        <p:spPr>
          <a:xfrm>
            <a:off x="460109" y="6456704"/>
            <a:ext cx="102400" cy="1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125" name="Google Shape;125;p21" descr="Picture 49"/>
          <p:cNvPicPr preferRelativeResize="0"/>
          <p:nvPr/>
        </p:nvPicPr>
        <p:blipFill rotWithShape="1">
          <a:blip r:embed="rId2" cstate="screen">
            <a:alphaModFix amt="586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00085" y="536045"/>
            <a:ext cx="6792000" cy="632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768947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6FE4CF-00CD-754C-93CA-EBADCF011E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E0E14F-79BD-8E4B-A0CF-89CD7E9FB9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80D4D-1350-1047-9A8B-5097F75EBA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BE585A-4E8B-D343-AC8B-FC69B610F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3CA4C-2650-DA42-9E75-D68B769E3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3507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FFC36-FA27-7D43-B8A5-AF8C70760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108B1D-31AD-DC41-B847-0E80CC2C3E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E6367C-A2C5-1F41-B3C7-06CEB6AF1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D47EA-571C-D040-81E7-7C404E39F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C7492C-D8AF-6D49-9CDA-0FA666383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00408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FBF10-C02B-9440-8CEE-762B41FBE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7BA7FF-0529-E844-BA8A-B279BD67E2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06CABF-5030-FE49-820D-64DBCEC4C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52744-756D-E446-BD8D-612CE77B5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54C3BE-6FCB-4D4B-BDF4-95843592C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95213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A5A13-18C6-264C-B054-19473BDD5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54E62-F575-AD49-B1CE-5EE55212D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675A5E-B4E4-2642-99B6-7AB763B29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23CA50-C70B-6F45-9E79-5E673A9F9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2E8A1C-BF68-184C-9C25-6697B6CE6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FB3F50-9A13-3C4D-8F82-6A8C0EF7B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1107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53045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AEDC1-BEED-FA46-8DD8-FEFF23139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06257C-239B-9F47-B509-61216A5C6E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819AAA-8C57-E84F-8763-CE3BF95654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83C61-D479-F549-811E-74D4B27471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14F3E-603A-E048-94B6-1EDFE3ABA8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887B48-8288-9442-A0C0-A446A4CFB9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7F4A96F-77C8-1C47-AB5A-0122FBB45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690EED-AF05-1149-A728-23030B923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33794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7E9D0-9F42-E443-AB53-BBA575CEF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B4D9C6-7E75-494B-A056-9D166C4918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66EDC-CA7C-2E47-8672-CC60D893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F74F3E-4614-B942-8CB4-838B464B6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30982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50A67E-0024-8744-9B47-864C93843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1A5BA9-73C4-BE4F-A343-DB6ACB9D6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DF3FEA-50B4-7F4D-B358-0FE40E0AB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52129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78E2E-E408-994D-9C00-E00E10450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2C037D-D557-9F4B-A969-AF3B1BEC91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F81B05-54D1-394E-9566-B9873EB7CB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8DEABD-D03A-5646-B8B7-B47154D13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2B6BC6-AF4D-A541-A667-9CF224C31D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08B98-6EAC-7D43-8569-38377ECA4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20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A9FD07-DDC6-E344-916B-EDAF5A090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1BF758-BACE-BA47-972F-462386AACA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17E976-6127-6C4A-AE01-7CA8C1EC31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0C5E5A-AC1D-F34D-AC9F-5E046D565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C3F698-6F36-1A4B-82CC-2546B3003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42FD85-E5AE-F543-AEBC-AAD43B7FB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4190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7CDC3-14C8-BC40-9EA5-8B051C100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24EA33-ACF6-A249-8B87-9572206AD1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98AC86-0DC2-664E-BB02-D25751241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D94C01-A09E-DC4B-A8A5-23D5E6527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8E0F66-F8A1-2445-94E7-B1105A9CE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05221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64B2C5-E4BC-1B44-8905-FC48BEE08A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B60F68-8DC8-9943-9262-2D2EA13EE3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F732D4-188B-1B4F-AAC4-DE1CBE45A1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83EEBE-9C54-B94B-AAA9-A43D2B9EC4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1B3C65-AC7F-E549-A3D7-3870125BB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8345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C0ADD-20C2-415C-8FDB-5B8B4E2C58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5894F-5F91-4CFD-B0A2-7E27F25B3B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BBE12-48A1-4A18-A4AF-9F5F65685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6926" y="6480968"/>
            <a:ext cx="438151" cy="365125"/>
          </a:xfrm>
        </p:spPr>
        <p:txBody>
          <a:bodyPr/>
          <a:lstStyle>
            <a:lvl1pPr>
              <a:defRPr>
                <a:latin typeface="IBM Plex Sans Light" panose="020B0403050203000203" pitchFamily="34" charset="0"/>
              </a:defRPr>
            </a:lvl1pPr>
          </a:lstStyle>
          <a:p>
            <a:fld id="{0AEFC5D4-16AE-4C48-B479-50A760E65D10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9AD4634-9C80-4A11-BB26-AA9A80E485BC}"/>
              </a:ext>
            </a:extLst>
          </p:cNvPr>
          <p:cNvSpPr txBox="1">
            <a:spLocks/>
          </p:cNvSpPr>
          <p:nvPr userDrawn="1"/>
        </p:nvSpPr>
        <p:spPr>
          <a:xfrm>
            <a:off x="554417" y="6397626"/>
            <a:ext cx="4114735" cy="16668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bg1"/>
                </a:solidFill>
                <a:latin typeface="IBM Plex Sans Light" panose="020B0403050203000203" pitchFamily="34" charset="0"/>
              </a:rPr>
              <a:t>IBM Watson Advertising / © 2021 IBM Corporation</a:t>
            </a:r>
            <a:endParaRPr lang="en-US" sz="1200" dirty="0">
              <a:solidFill>
                <a:schemeClr val="bg1"/>
              </a:solidFill>
              <a:latin typeface="IBM Plex Sans Light" panose="020B0403050203000203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FDD086D-E5CA-4221-9CBB-E8E0D12BCE66}"/>
              </a:ext>
            </a:extLst>
          </p:cNvPr>
          <p:cNvSpPr txBox="1">
            <a:spLocks/>
          </p:cNvSpPr>
          <p:nvPr userDrawn="1"/>
        </p:nvSpPr>
        <p:spPr>
          <a:xfrm>
            <a:off x="706817" y="6550026"/>
            <a:ext cx="4114735" cy="16668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chemeClr val="bg1"/>
                </a:solidFill>
                <a:latin typeface="IBM Plex Sans Light" panose="020B0403050203000203" pitchFamily="34" charset="0"/>
              </a:rPr>
              <a:t>IBM Watson Advertising / © 2021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97355196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A4EAB-E4CC-4515-B824-D429DD9B1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16995A-36B9-44D4-B5AC-C1D00C930C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496451-32AC-468B-BF4C-0FCD179B0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B2095E-7468-4318-BC49-8BC73AD84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4B8306-370E-4CFA-BD6D-A09CDA322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6305655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A11FC-A7D2-42D4-A5D2-FF221D057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D360CA-5740-43BE-94CC-B7F08063A5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08BD26-FDEC-4E6C-B0E1-3EAE03B23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E5CCEA-4D92-47C0-886A-1B9FE4B64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7A7D7C-E6F7-4709-8812-369D99E180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41339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0D6295-3F87-40BB-8B66-635CB4AA02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0D6295-3F87-40BB-8B66-635CB4AA02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C39E2-F90C-461F-A6D7-1E7FA3E45A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81075" y="1435372"/>
            <a:ext cx="10893425" cy="4414565"/>
          </a:xfrm>
        </p:spPr>
        <p:txBody>
          <a:bodyPr>
            <a:normAutofit/>
          </a:bodyPr>
          <a:lstStyle>
            <a:lvl1pPr marL="457200" indent="-457200">
              <a:spcBef>
                <a:spcPts val="600"/>
              </a:spcBef>
              <a:buFontTx/>
              <a:buBlip>
                <a:blip r:embed="rId6"/>
              </a:buBlip>
              <a:defRPr sz="3200">
                <a:solidFill>
                  <a:schemeClr val="bg2"/>
                </a:solidFill>
              </a:defRPr>
            </a:lvl1pPr>
            <a:lvl2pPr>
              <a:buClr>
                <a:srgbClr val="0070B7"/>
              </a:buClr>
              <a:defRPr sz="2800">
                <a:solidFill>
                  <a:schemeClr val="bg2"/>
                </a:solidFill>
              </a:defRPr>
            </a:lvl2pPr>
            <a:lvl3pPr>
              <a:buClr>
                <a:srgbClr val="0070B7"/>
              </a:buClr>
              <a:defRPr sz="2400">
                <a:solidFill>
                  <a:schemeClr val="bg2"/>
                </a:solidFill>
              </a:defRPr>
            </a:lvl3pPr>
            <a:lvl4pPr>
              <a:buClr>
                <a:srgbClr val="0070B7"/>
              </a:buClr>
              <a:defRPr sz="2000">
                <a:solidFill>
                  <a:schemeClr val="bg2"/>
                </a:solidFill>
              </a:defRPr>
            </a:lvl4pPr>
            <a:lvl5pPr>
              <a:buClr>
                <a:srgbClr val="0070B7"/>
              </a:buClr>
              <a:defRPr sz="1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80743" y="273828"/>
            <a:ext cx="10893251" cy="887949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rgbClr val="1B75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</p:grpSpPr>
        <p:sp>
          <p:nvSpPr>
            <p:cNvPr id="14" name="Rectangle: Rounded Corners 13"/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5" name="Rectangle: Rounded Corners 14"/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: Rounded Corners 15"/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2769" y="6288260"/>
            <a:ext cx="488004" cy="365125"/>
          </a:xfrm>
        </p:spPr>
        <p:txBody>
          <a:bodyPr rIns="36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131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81107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663874-523F-4A5C-BA81-ABDE54155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6839D5-A9B5-4D44-8AB2-C7152AE78E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D533F4-43A3-47B5-A308-B5E480310B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F004D9-5C90-42D4-9558-580790F982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839A0-B73E-4C3F-B380-30C4E9ACD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EA7C2F-C063-4245-A1F6-9C8052980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9435997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3C723-0A3C-4F93-8051-7FFDCE1E4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E29D73-9C7A-4DB4-9C36-82EA26C59C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C781EB-431C-47A6-A1EC-D6CA44F223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A02A4E-EF27-42A1-99B0-B5CB3D68E9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5E9545B-97A1-4E01-8134-704C9A11BF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13C4D8-B26F-47C1-A181-5632A9CF1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4847A0C-C655-4E9E-AF67-C1163D237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EB77B5-83AA-4E94-95DE-BA8DECC489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9142826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400FA0-B9B0-4F2E-9974-E16A1CE18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C61F27-2AAF-42E8-AAFB-34AAB3A39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B8B212-4565-4415-9110-9C21B460B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5F7CE-CCA8-4EE0-8B4A-2309BF7C3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2647950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117907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52D875-D086-436B-829B-A026CD70B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472D7B-A077-46B2-A2F5-FE7FCBDAD0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CEC821-4ECE-4CC0-A307-6D9A50D82C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132C60-C421-46F4-B8E5-3C422822D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5B4630-0116-46D8-8533-2A9B91023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BA9F1B-B577-4CB7-8508-68C715072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1131111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58F30-1A1C-4199-85BC-B02B80D64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DB4EF8-E0B0-4D57-B34F-461A0F3E6B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B9226B-D928-4FCC-9E17-1840F9BA8F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00CCF0-C639-40F9-BCF6-CC32FF2AEE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F08068-8316-44C4-905D-EE177838C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1A6B49-DB29-4FF3-8540-F71674CE7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1657499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1F99A-348D-4596-B175-8273679B6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95EA19-599F-4EC6-B388-424513AA16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A9E33B-79E0-4844-B81A-7BB366815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B5B4B4-A6B9-4269-B472-93B64BB7B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8296C2-15AE-49D8-B9ED-B0F39BACE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013958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AB54D03-FE08-4B7C-88B1-0EF4D01762C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78E9F3-8C1A-44EB-B358-166C7552DE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BE1DBB-6B4B-4415-B604-159E92A05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4DAA85-4C9E-4A25-AAE4-FF1BD6FC4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4C29BF-E3AD-4A87-AE06-7E74C932B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2390301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91750" y="6257437"/>
            <a:ext cx="695452" cy="27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80303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728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43774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65646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60430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1726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88399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89852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7829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35873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52694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36472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5107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27861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86925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82043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43587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7758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68092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26975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77209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7067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22018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3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89" y="268818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4981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05960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88684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30994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32517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96409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99243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16616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25105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397909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64493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4606" y="3087490"/>
            <a:ext cx="1722793" cy="683025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3778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35630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(black box) over image(s)">
  <p:cSld name="1_title (black box) over image(s)">
    <p:spTree>
      <p:nvGrpSpPr>
        <p:cNvPr id="1" name="Shape 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8" name="Google Shape;678;p98"/>
          <p:cNvSpPr txBox="1">
            <a:spLocks noGrp="1"/>
          </p:cNvSpPr>
          <p:nvPr>
            <p:ph type="title"/>
          </p:nvPr>
        </p:nvSpPr>
        <p:spPr>
          <a:xfrm>
            <a:off x="0" y="0"/>
            <a:ext cx="12192000" cy="1701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210300" tIns="201150" rIns="228600" bIns="22860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9" name="Google Shape;679;p98"/>
          <p:cNvSpPr>
            <a:spLocks noGrp="1"/>
          </p:cNvSpPr>
          <p:nvPr>
            <p:ph type="pic" idx="2"/>
          </p:nvPr>
        </p:nvSpPr>
        <p:spPr>
          <a:xfrm>
            <a:off x="0" y="1701800"/>
            <a:ext cx="12192000" cy="515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rgbClr val="6D6E70"/>
              </a:buClr>
              <a:buSzPts val="1260"/>
              <a:buFont typeface="Noto Sans Symbols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39"/>
              </a:spcBef>
              <a:spcAft>
                <a:spcPts val="0"/>
              </a:spcAft>
              <a:buClr>
                <a:schemeClr val="dk1"/>
              </a:buClr>
              <a:buSzPts val="1269"/>
              <a:buFont typeface="Arial"/>
              <a:buChar char="»"/>
              <a:defRPr sz="169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339"/>
              </a:spcBef>
              <a:spcAft>
                <a:spcPts val="0"/>
              </a:spcAft>
              <a:buClr>
                <a:schemeClr val="dk1"/>
              </a:buClr>
              <a:buSzPts val="1269"/>
              <a:buFont typeface="Arial"/>
              <a:buChar char="»"/>
              <a:defRPr sz="169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339"/>
              </a:spcBef>
              <a:spcAft>
                <a:spcPts val="0"/>
              </a:spcAft>
              <a:buClr>
                <a:schemeClr val="dk1"/>
              </a:buClr>
              <a:buSzPts val="1269"/>
              <a:buFont typeface="Arial"/>
              <a:buChar char="»"/>
              <a:defRPr sz="169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339"/>
              </a:spcBef>
              <a:spcAft>
                <a:spcPts val="0"/>
              </a:spcAft>
              <a:buClr>
                <a:schemeClr val="dk1"/>
              </a:buClr>
              <a:buSzPts val="1269"/>
              <a:buFont typeface="Arial"/>
              <a:buChar char="»"/>
              <a:defRPr sz="169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0" name="Google Shape;680;p98"/>
          <p:cNvSpPr txBox="1">
            <a:spLocks noGrp="1"/>
          </p:cNvSpPr>
          <p:nvPr>
            <p:ph type="ftr" idx="11"/>
          </p:nvPr>
        </p:nvSpPr>
        <p:spPr>
          <a:xfrm>
            <a:off x="304888" y="6383867"/>
            <a:ext cx="5486400" cy="2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1" name="Google Shape;681;p98"/>
          <p:cNvSpPr txBox="1">
            <a:spLocks noGrp="1"/>
          </p:cNvSpPr>
          <p:nvPr>
            <p:ph type="sldNum" idx="12"/>
          </p:nvPr>
        </p:nvSpPr>
        <p:spPr>
          <a:xfrm>
            <a:off x="9448801" y="6383867"/>
            <a:ext cx="2438400" cy="2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1116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9359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3955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2264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9945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47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E5683-BAF2-4DBE-BED6-CF778F095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82E38F-2639-41FF-890D-E05FC218DE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473738-F55C-494A-B345-A0644CC98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1B4428-7569-47F1-A2FD-088903A3A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A51371-09B7-40EB-A086-4AA4009C2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CE38E-58D8-4BE4-9BFA-4B9096E5DB5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8207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3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89" y="268818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052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1942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532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2980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542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1409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483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2420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5246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785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53206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6" y="3087490"/>
            <a:ext cx="1722793" cy="683025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9495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59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56738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3822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9016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5200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7140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6189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448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8530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5377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80743" y="273828"/>
            <a:ext cx="10893251" cy="887949"/>
          </a:xfrm>
        </p:spPr>
        <p:txBody>
          <a:bodyPr anchor="ctr">
            <a:normAutofit/>
          </a:bodyPr>
          <a:lstStyle>
            <a:lvl1pPr algn="l">
              <a:defRPr sz="4000" b="1">
                <a:solidFill>
                  <a:srgbClr val="1B75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</p:grpSpPr>
        <p:sp>
          <p:nvSpPr>
            <p:cNvPr id="14" name="Rectangle: Rounded Corners 13"/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5" name="Rectangle: Rounded Corners 14"/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: Rounded Corners 15"/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7504" y="6228307"/>
            <a:ext cx="1466491" cy="44645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89" y="6288260"/>
            <a:ext cx="488004" cy="365125"/>
          </a:xfrm>
        </p:spPr>
        <p:txBody>
          <a:bodyPr rIns="36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0854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8366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0785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8613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8570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2533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8267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1075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4051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964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108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computer&#10;&#10;Description automatically generated">
            <a:extLst>
              <a:ext uri="{FF2B5EF4-FFF2-40B4-BE49-F238E27FC236}">
                <a16:creationId xmlns:a16="http://schemas.microsoft.com/office/drawing/2014/main" id="{970FA471-EABE-AA48-94B5-E607531A54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99138" y="0"/>
            <a:ext cx="15291138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421033D-2425-EC42-BBD4-8BBE247DD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0743" y="273828"/>
            <a:ext cx="10893251" cy="887949"/>
          </a:xfrm>
        </p:spPr>
        <p:txBody>
          <a:bodyPr anchor="ctr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F716246-CED0-7F4A-9980-0767B0193FA5}"/>
              </a:ext>
            </a:extLst>
          </p:cNvPr>
          <p:cNvGrpSpPr/>
          <p:nvPr userDrawn="1"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</p:grpSpPr>
        <p:sp>
          <p:nvSpPr>
            <p:cNvPr id="9" name="Rectangle: Rounded Corners 13">
              <a:extLst>
                <a:ext uri="{FF2B5EF4-FFF2-40B4-BE49-F238E27FC236}">
                  <a16:creationId xmlns:a16="http://schemas.microsoft.com/office/drawing/2014/main" id="{91375636-B3CB-9F48-A191-7DAA2AE31E03}"/>
                </a:ext>
              </a:extLst>
            </p:cNvPr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0" name="Rectangle: Rounded Corners 14">
              <a:extLst>
                <a:ext uri="{FF2B5EF4-FFF2-40B4-BE49-F238E27FC236}">
                  <a16:creationId xmlns:a16="http://schemas.microsoft.com/office/drawing/2014/main" id="{181DC612-8C29-804C-8E62-D7C29A12AE43}"/>
                </a:ext>
              </a:extLst>
            </p:cNvPr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1" name="Rectangle: Rounded Corners 15">
              <a:extLst>
                <a:ext uri="{FF2B5EF4-FFF2-40B4-BE49-F238E27FC236}">
                  <a16:creationId xmlns:a16="http://schemas.microsoft.com/office/drawing/2014/main" id="{0B8DE247-9EE4-904A-A0AE-72D3946770B6}"/>
                </a:ext>
              </a:extLst>
            </p:cNvPr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967585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2324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7621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2770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3553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3279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2864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9415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9731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1506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504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2"/>
            <a:ext cx="12192000" cy="1400173"/>
          </a:xfrm>
          <a:prstGeom prst="rect">
            <a:avLst/>
          </a:prstGeom>
          <a:solidFill>
            <a:srgbClr val="007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80743" y="273828"/>
            <a:ext cx="8885939" cy="887949"/>
          </a:xfrm>
        </p:spPr>
        <p:txBody>
          <a:bodyPr anchor="ctr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  <a:solidFill>
            <a:schemeClr val="bg1"/>
          </a:solidFill>
        </p:grpSpPr>
        <p:sp>
          <p:nvSpPr>
            <p:cNvPr id="14" name="Rectangle: Rounded Corners 13"/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5" name="Rectangle: Rounded Corners 14"/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: Rounded Corners 15"/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7504" y="6228307"/>
            <a:ext cx="1466491" cy="44645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2769" y="6288260"/>
            <a:ext cx="488004" cy="365125"/>
          </a:xfrm>
        </p:spPr>
        <p:txBody>
          <a:bodyPr rIns="36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81075" y="1674001"/>
            <a:ext cx="10893425" cy="3961486"/>
          </a:xfrm>
        </p:spPr>
        <p:txBody>
          <a:bodyPr>
            <a:normAutofit/>
          </a:bodyPr>
          <a:lstStyle>
            <a:lvl1pPr marL="457200" indent="-457200">
              <a:spcBef>
                <a:spcPts val="600"/>
              </a:spcBef>
              <a:buFontTx/>
              <a:buBlip>
                <a:blip r:embed="rId3"/>
              </a:buBlip>
              <a:defRPr sz="3200">
                <a:solidFill>
                  <a:schemeClr val="bg2"/>
                </a:solidFill>
              </a:defRPr>
            </a:lvl1pPr>
            <a:lvl2pPr>
              <a:buClr>
                <a:srgbClr val="0070B7"/>
              </a:buClr>
              <a:defRPr sz="2800">
                <a:solidFill>
                  <a:schemeClr val="bg2"/>
                </a:solidFill>
              </a:defRPr>
            </a:lvl2pPr>
            <a:lvl3pPr>
              <a:buClr>
                <a:srgbClr val="0070B7"/>
              </a:buClr>
              <a:defRPr sz="2400">
                <a:solidFill>
                  <a:schemeClr val="bg2"/>
                </a:solidFill>
              </a:defRPr>
            </a:lvl3pPr>
            <a:lvl4pPr>
              <a:buClr>
                <a:srgbClr val="0070B7"/>
              </a:buClr>
              <a:defRPr sz="2000">
                <a:solidFill>
                  <a:schemeClr val="bg2"/>
                </a:solidFill>
              </a:defRPr>
            </a:lvl4pPr>
            <a:lvl5pPr>
              <a:buClr>
                <a:srgbClr val="0070B7"/>
              </a:buClr>
              <a:defRPr sz="1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998422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160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36733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5631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83847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9812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0148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16193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5026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46736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924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621255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6ADDA4A8-2177-4EAB-8A5A-96D9411369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286"/>
          </a:xfrm>
          <a:prstGeom prst="rect">
            <a:avLst/>
          </a:prstGeom>
        </p:spPr>
      </p:pic>
      <p:pic>
        <p:nvPicPr>
          <p:cNvPr id="5" name="Picture 4" descr="A picture containing car, street, mirror&#10;&#10;Description automatically generated">
            <a:extLst>
              <a:ext uri="{FF2B5EF4-FFF2-40B4-BE49-F238E27FC236}">
                <a16:creationId xmlns:a16="http://schemas.microsoft.com/office/drawing/2014/main" id="{C022A468-70FB-4B13-9EC0-8A77FD5A0F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-5056"/>
          <a:stretch/>
        </p:blipFill>
        <p:spPr>
          <a:xfrm>
            <a:off x="0" y="0"/>
            <a:ext cx="12192000" cy="7204364"/>
          </a:xfrm>
          <a:prstGeom prst="rect">
            <a:avLst/>
          </a:prstGeom>
          <a:effectLst/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89" y="6288260"/>
            <a:ext cx="488004" cy="365125"/>
          </a:xfrm>
        </p:spPr>
        <p:txBody>
          <a:bodyPr rIns="36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749FE41-B32F-4A5A-9E38-3BC29EC2F4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5603" y="216217"/>
            <a:ext cx="6200428" cy="99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9131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53393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5194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60289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2062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1053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9299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9206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5316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3962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6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57437"/>
            <a:ext cx="695452" cy="27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598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6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829580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95876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5923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0664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43224"/>
            <a:ext cx="27432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06340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6743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2909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0842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0189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598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34" Type="http://schemas.openxmlformats.org/officeDocument/2006/relationships/theme" Target="../theme/theme10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32.xml"/><Relationship Id="rId33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32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31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slideLayout" Target="../slideLayouts/slideLayout234.xml"/><Relationship Id="rId30" Type="http://schemas.openxmlformats.org/officeDocument/2006/relationships/slideLayout" Target="../slideLayouts/slideLayout237.xml"/><Relationship Id="rId8" Type="http://schemas.openxmlformats.org/officeDocument/2006/relationships/slideLayout" Target="../slideLayouts/slideLayout21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slideLayout" Target="../slideLayouts/slideLayout40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8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8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theme" Target="../theme/theme5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slideLayout" Target="../slideLayouts/slideLayout173.xml"/><Relationship Id="rId39" Type="http://schemas.openxmlformats.org/officeDocument/2006/relationships/theme" Target="../theme/theme7.xml"/><Relationship Id="rId21" Type="http://schemas.openxmlformats.org/officeDocument/2006/relationships/slideLayout" Target="../slideLayouts/slideLayout168.xml"/><Relationship Id="rId34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33" Type="http://schemas.openxmlformats.org/officeDocument/2006/relationships/slideLayout" Target="../slideLayouts/slideLayout180.xml"/><Relationship Id="rId38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32" Type="http://schemas.openxmlformats.org/officeDocument/2006/relationships/slideLayout" Target="../slideLayouts/slideLayout179.xml"/><Relationship Id="rId37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slideLayout" Target="../slideLayouts/slideLayout175.xml"/><Relationship Id="rId36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77.xml"/><Relationship Id="rId35" Type="http://schemas.openxmlformats.org/officeDocument/2006/relationships/slideLayout" Target="../slideLayouts/slideLayout182.xml"/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498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859" r:id="rId6"/>
    <p:sldLayoutId id="2147483860" r:id="rId7"/>
    <p:sldLayoutId id="214748387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60606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60606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60606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60606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60606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60606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IBM Watson Advertising / © 2021 IBM Corporation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554960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  <p:sldLayoutId id="2147483918" r:id="rId30"/>
    <p:sldLayoutId id="2147483919" r:id="rId31"/>
    <p:sldLayoutId id="2147483920" r:id="rId32"/>
    <p:sldLayoutId id="2147483921" r:id="rId3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bg1"/>
          </a:solidFill>
          <a:latin typeface="+mj-lt"/>
          <a:ea typeface="IBM Plex Sans" charset="0"/>
          <a:cs typeface="IBM Plex Sans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867">
          <a:solidFill>
            <a:schemeClr val="bg1"/>
          </a:solidFill>
          <a:latin typeface="+mn-lt"/>
          <a:ea typeface="IBM Plex Sans" charset="0"/>
          <a:cs typeface="IBM Plex Sans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>
          <a:solidFill>
            <a:schemeClr val="bg1"/>
          </a:solidFill>
          <a:latin typeface="+mn-lt"/>
          <a:ea typeface="IBM Plex Sans" charset="0"/>
          <a:cs typeface="IBM Plex Sans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>
          <a:solidFill>
            <a:schemeClr val="bg1"/>
          </a:solidFill>
          <a:latin typeface="+mn-lt"/>
          <a:ea typeface="IBM Plex Sans" charset="0"/>
          <a:cs typeface="IBM Plex Sans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aseline="0">
          <a:solidFill>
            <a:schemeClr val="bg1"/>
          </a:solidFill>
          <a:latin typeface="+mn-lt"/>
          <a:ea typeface="IBM Plex Sans" charset="0"/>
          <a:cs typeface="IBM Plex Sans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867">
          <a:solidFill>
            <a:schemeClr val="bg1"/>
          </a:solidFill>
          <a:latin typeface="+mn-lt"/>
          <a:ea typeface="IBM Plex Sans" charset="0"/>
          <a:cs typeface="IBM Plex Sans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148972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700" r:id="rId33"/>
  </p:sldLayoutIdLst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bg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="0" i="0" baseline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1974686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</p:sldLayoutIdLst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 b="0" i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 baseline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 b="0" i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856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  <p:sldLayoutId id="2147483771" r:id="rId33"/>
    <p:sldLayoutId id="2147483772" r:id="rId34"/>
    <p:sldLayoutId id="2147483773" r:id="rId35"/>
    <p:sldLayoutId id="2147483776" r:id="rId36"/>
    <p:sldLayoutId id="2147483777" r:id="rId37"/>
  </p:sldLayoutIdLst>
  <p:hf sldNum="0" hd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924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  <p:sldLayoutId id="2147483804" r:id="rId26"/>
    <p:sldLayoutId id="2147483805" r:id="rId27"/>
    <p:sldLayoutId id="2147483806" r:id="rId28"/>
    <p:sldLayoutId id="2147483807" r:id="rId29"/>
    <p:sldLayoutId id="2147483808" r:id="rId30"/>
    <p:sldLayoutId id="2147483809" r:id="rId31"/>
    <p:sldLayoutId id="2147483810" r:id="rId32"/>
    <p:sldLayoutId id="2147483811" r:id="rId33"/>
    <p:sldLayoutId id="2147483812" r:id="rId34"/>
    <p:sldLayoutId id="2147483813" r:id="rId35"/>
    <p:sldLayoutId id="2147483814" r:id="rId36"/>
  </p:sldLayoutIdLst>
  <p:hf sldNum="0" hd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4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>
                <a:latin typeface="Arial" panose="020B0604020202020204" pitchFamily="34" charset="0"/>
              </a:rPr>
              <a:t>IBM Watson Advertising / © 2020 IBM Corporation / #PutWeatherToWork</a:t>
            </a:r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465903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</p:titleStyle>
    <p:bodyStyle>
      <a:lvl1pPr marL="0" indent="0" algn="l" defTabSz="609570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  <a:lvl2pPr marL="230706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2pPr>
      <a:lvl3pPr marL="52914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3pPr>
      <a:lvl4pPr marL="833926" indent="-22435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4pPr>
      <a:lvl5pPr marL="107098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90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  <p:sldLayoutId id="2147483849" r:id="rId30"/>
    <p:sldLayoutId id="2147483850" r:id="rId31"/>
    <p:sldLayoutId id="2147483851" r:id="rId32"/>
    <p:sldLayoutId id="2147483852" r:id="rId33"/>
    <p:sldLayoutId id="2147483853" r:id="rId34"/>
    <p:sldLayoutId id="2147483854" r:id="rId35"/>
    <p:sldLayoutId id="2147483855" r:id="rId36"/>
    <p:sldLayoutId id="2147483857" r:id="rId37"/>
    <p:sldLayoutId id="2147483858" r:id="rId38"/>
  </p:sldLayoutIdLst>
  <p:hf hd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E5D956-AD74-5B4F-A588-7DCE22B00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B0E398-A4E2-4D4F-BAE4-71C4680185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BA2450-C9E7-844F-AABE-8E81D88F22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7CE2C3-9DE4-AA4A-A1C3-95D4BAE19057}" type="datetimeFigureOut">
              <a:rPr lang="en-US" smtClean="0"/>
              <a:t>5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E2A97-2983-CA43-B6D7-76AF4E4A8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759D09-FB3B-664A-8A2E-5C496D9C97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yellow rectangle with a blue background&#10;&#10;Description automatically generated with medium confidence">
            <a:extLst>
              <a:ext uri="{FF2B5EF4-FFF2-40B4-BE49-F238E27FC236}">
                <a16:creationId xmlns:a16="http://schemas.microsoft.com/office/drawing/2014/main" id="{8F739AFB-46E6-B34E-B0BC-CC5B7AEEDDB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487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4765C4B-DFA8-4078-8389-55AA97019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CB5576-58EA-4F5D-B783-3B783B09C7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E5F843-2EE4-4D97-BA9E-DBEF1563BE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5A3032-3725-4F3B-9EE9-48C104B31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A8FF6E-271B-40C4-A7E1-D454410505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EFC5D4-16AE-4C48-B479-50A760E65D1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19043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7.png"/><Relationship Id="rId5" Type="http://schemas.openxmlformats.org/officeDocument/2006/relationships/image" Target="../media/image146.png"/><Relationship Id="rId4" Type="http://schemas.openxmlformats.org/officeDocument/2006/relationships/image" Target="../media/image14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20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jpeg"/><Relationship Id="rId1" Type="http://schemas.openxmlformats.org/officeDocument/2006/relationships/slideLayout" Target="../slideLayouts/slideLayout2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3.xml"/><Relationship Id="rId6" Type="http://schemas.openxmlformats.org/officeDocument/2006/relationships/image" Target="../media/image153.jpeg"/><Relationship Id="rId5" Type="http://schemas.openxmlformats.org/officeDocument/2006/relationships/image" Target="../media/image152.jpeg"/><Relationship Id="rId4" Type="http://schemas.openxmlformats.org/officeDocument/2006/relationships/image" Target="../media/image15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NUL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21" Type="http://schemas.microsoft.com/office/2007/relationships/hdphoto" Target="../media/hdphoto1.wdp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4.png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24" Type="http://schemas.openxmlformats.org/officeDocument/2006/relationships/image" Target="../media/image40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23" Type="http://schemas.openxmlformats.org/officeDocument/2006/relationships/image" Target="../media/image39.png"/><Relationship Id="rId10" Type="http://schemas.openxmlformats.org/officeDocument/2006/relationships/image" Target="../media/image28.png"/><Relationship Id="rId19" Type="http://schemas.openxmlformats.org/officeDocument/2006/relationships/image" Target="../media/image2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64.png"/><Relationship Id="rId21" Type="http://schemas.openxmlformats.org/officeDocument/2006/relationships/image" Target="../media/image59.jpeg"/><Relationship Id="rId42" Type="http://schemas.openxmlformats.org/officeDocument/2006/relationships/image" Target="../media/image80.tiff"/><Relationship Id="rId47" Type="http://schemas.openxmlformats.org/officeDocument/2006/relationships/image" Target="../media/image85.tiff"/><Relationship Id="rId63" Type="http://schemas.openxmlformats.org/officeDocument/2006/relationships/image" Target="../media/image101.tiff"/><Relationship Id="rId68" Type="http://schemas.openxmlformats.org/officeDocument/2006/relationships/image" Target="../media/image106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4.png"/><Relationship Id="rId29" Type="http://schemas.openxmlformats.org/officeDocument/2006/relationships/image" Target="../media/image67.jpeg"/><Relationship Id="rId11" Type="http://schemas.openxmlformats.org/officeDocument/2006/relationships/image" Target="../media/image49.jpeg"/><Relationship Id="rId24" Type="http://schemas.openxmlformats.org/officeDocument/2006/relationships/image" Target="../media/image62.png"/><Relationship Id="rId32" Type="http://schemas.openxmlformats.org/officeDocument/2006/relationships/image" Target="../media/image70.jpeg"/><Relationship Id="rId37" Type="http://schemas.openxmlformats.org/officeDocument/2006/relationships/image" Target="../media/image75.tiff"/><Relationship Id="rId40" Type="http://schemas.openxmlformats.org/officeDocument/2006/relationships/image" Target="../media/image78.tiff"/><Relationship Id="rId45" Type="http://schemas.openxmlformats.org/officeDocument/2006/relationships/image" Target="../media/image83.tiff"/><Relationship Id="rId53" Type="http://schemas.openxmlformats.org/officeDocument/2006/relationships/image" Target="../media/image91.tiff"/><Relationship Id="rId58" Type="http://schemas.openxmlformats.org/officeDocument/2006/relationships/image" Target="../media/image96.tiff"/><Relationship Id="rId66" Type="http://schemas.openxmlformats.org/officeDocument/2006/relationships/image" Target="../media/image104.tiff"/><Relationship Id="rId74" Type="http://schemas.openxmlformats.org/officeDocument/2006/relationships/image" Target="../media/image112.jpeg"/><Relationship Id="rId5" Type="http://schemas.openxmlformats.org/officeDocument/2006/relationships/image" Target="../media/image43.png"/><Relationship Id="rId61" Type="http://schemas.openxmlformats.org/officeDocument/2006/relationships/image" Target="../media/image99.tiff"/><Relationship Id="rId19" Type="http://schemas.openxmlformats.org/officeDocument/2006/relationships/image" Target="../media/image57.jpeg"/><Relationship Id="rId14" Type="http://schemas.openxmlformats.org/officeDocument/2006/relationships/image" Target="../media/image52.png"/><Relationship Id="rId22" Type="http://schemas.openxmlformats.org/officeDocument/2006/relationships/image" Target="../media/image60.jpeg"/><Relationship Id="rId27" Type="http://schemas.openxmlformats.org/officeDocument/2006/relationships/image" Target="../media/image65.png"/><Relationship Id="rId30" Type="http://schemas.openxmlformats.org/officeDocument/2006/relationships/image" Target="../media/image68.png"/><Relationship Id="rId35" Type="http://schemas.openxmlformats.org/officeDocument/2006/relationships/image" Target="../media/image73.tiff"/><Relationship Id="rId43" Type="http://schemas.openxmlformats.org/officeDocument/2006/relationships/image" Target="../media/image81.tiff"/><Relationship Id="rId48" Type="http://schemas.openxmlformats.org/officeDocument/2006/relationships/image" Target="../media/image86.tiff"/><Relationship Id="rId56" Type="http://schemas.openxmlformats.org/officeDocument/2006/relationships/image" Target="../media/image94.tiff"/><Relationship Id="rId64" Type="http://schemas.openxmlformats.org/officeDocument/2006/relationships/image" Target="../media/image102.tiff"/><Relationship Id="rId69" Type="http://schemas.openxmlformats.org/officeDocument/2006/relationships/image" Target="../media/image107.jpeg"/><Relationship Id="rId8" Type="http://schemas.openxmlformats.org/officeDocument/2006/relationships/image" Target="../media/image46.png"/><Relationship Id="rId51" Type="http://schemas.openxmlformats.org/officeDocument/2006/relationships/image" Target="../media/image89.tiff"/><Relationship Id="rId72" Type="http://schemas.openxmlformats.org/officeDocument/2006/relationships/image" Target="../media/image110.png"/><Relationship Id="rId3" Type="http://schemas.openxmlformats.org/officeDocument/2006/relationships/image" Target="../media/image41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5" Type="http://schemas.openxmlformats.org/officeDocument/2006/relationships/image" Target="../media/image63.jpeg"/><Relationship Id="rId33" Type="http://schemas.openxmlformats.org/officeDocument/2006/relationships/image" Target="../media/image71.png"/><Relationship Id="rId38" Type="http://schemas.openxmlformats.org/officeDocument/2006/relationships/image" Target="../media/image76.tiff"/><Relationship Id="rId46" Type="http://schemas.openxmlformats.org/officeDocument/2006/relationships/image" Target="../media/image84.tiff"/><Relationship Id="rId59" Type="http://schemas.openxmlformats.org/officeDocument/2006/relationships/image" Target="../media/image97.tiff"/><Relationship Id="rId67" Type="http://schemas.openxmlformats.org/officeDocument/2006/relationships/image" Target="../media/image105.png"/><Relationship Id="rId20" Type="http://schemas.openxmlformats.org/officeDocument/2006/relationships/image" Target="../media/image58.png"/><Relationship Id="rId41" Type="http://schemas.openxmlformats.org/officeDocument/2006/relationships/image" Target="../media/image79.tiff"/><Relationship Id="rId54" Type="http://schemas.openxmlformats.org/officeDocument/2006/relationships/image" Target="../media/image92.tiff"/><Relationship Id="rId62" Type="http://schemas.openxmlformats.org/officeDocument/2006/relationships/image" Target="../media/image100.tiff"/><Relationship Id="rId70" Type="http://schemas.openxmlformats.org/officeDocument/2006/relationships/image" Target="../media/image108.png"/><Relationship Id="rId75" Type="http://schemas.openxmlformats.org/officeDocument/2006/relationships/image" Target="../media/image11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png"/><Relationship Id="rId15" Type="http://schemas.openxmlformats.org/officeDocument/2006/relationships/image" Target="../media/image53.png"/><Relationship Id="rId23" Type="http://schemas.openxmlformats.org/officeDocument/2006/relationships/image" Target="../media/image61.png"/><Relationship Id="rId28" Type="http://schemas.openxmlformats.org/officeDocument/2006/relationships/image" Target="../media/image66.jpeg"/><Relationship Id="rId36" Type="http://schemas.openxmlformats.org/officeDocument/2006/relationships/image" Target="../media/image74.tiff"/><Relationship Id="rId49" Type="http://schemas.openxmlformats.org/officeDocument/2006/relationships/image" Target="../media/image87.tiff"/><Relationship Id="rId57" Type="http://schemas.openxmlformats.org/officeDocument/2006/relationships/image" Target="../media/image95.tiff"/><Relationship Id="rId10" Type="http://schemas.openxmlformats.org/officeDocument/2006/relationships/image" Target="../media/image48.jpeg"/><Relationship Id="rId31" Type="http://schemas.openxmlformats.org/officeDocument/2006/relationships/image" Target="../media/image69.png"/><Relationship Id="rId44" Type="http://schemas.openxmlformats.org/officeDocument/2006/relationships/image" Target="../media/image82.tiff"/><Relationship Id="rId52" Type="http://schemas.openxmlformats.org/officeDocument/2006/relationships/image" Target="../media/image90.tiff"/><Relationship Id="rId60" Type="http://schemas.openxmlformats.org/officeDocument/2006/relationships/image" Target="../media/image98.tiff"/><Relationship Id="rId65" Type="http://schemas.openxmlformats.org/officeDocument/2006/relationships/image" Target="../media/image103.tiff"/><Relationship Id="rId73" Type="http://schemas.openxmlformats.org/officeDocument/2006/relationships/image" Target="../media/image111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3" Type="http://schemas.openxmlformats.org/officeDocument/2006/relationships/image" Target="../media/image51.jpeg"/><Relationship Id="rId18" Type="http://schemas.openxmlformats.org/officeDocument/2006/relationships/image" Target="../media/image56.png"/><Relationship Id="rId39" Type="http://schemas.openxmlformats.org/officeDocument/2006/relationships/image" Target="../media/image77.tiff"/><Relationship Id="rId34" Type="http://schemas.openxmlformats.org/officeDocument/2006/relationships/image" Target="../media/image72.png"/><Relationship Id="rId50" Type="http://schemas.openxmlformats.org/officeDocument/2006/relationships/image" Target="../media/image88.tiff"/><Relationship Id="rId55" Type="http://schemas.openxmlformats.org/officeDocument/2006/relationships/image" Target="../media/image93.tiff"/><Relationship Id="rId7" Type="http://schemas.openxmlformats.org/officeDocument/2006/relationships/image" Target="../media/image45.png"/><Relationship Id="rId71" Type="http://schemas.openxmlformats.org/officeDocument/2006/relationships/image" Target="../media/image109.gi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13" Type="http://schemas.openxmlformats.org/officeDocument/2006/relationships/image" Target="../media/image124.png"/><Relationship Id="rId3" Type="http://schemas.openxmlformats.org/officeDocument/2006/relationships/image" Target="../media/image114.png"/><Relationship Id="rId7" Type="http://schemas.openxmlformats.org/officeDocument/2006/relationships/image" Target="../media/image118.png"/><Relationship Id="rId12" Type="http://schemas.openxmlformats.org/officeDocument/2006/relationships/image" Target="../media/image1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7.png"/><Relationship Id="rId11" Type="http://schemas.openxmlformats.org/officeDocument/2006/relationships/image" Target="../media/image122.png"/><Relationship Id="rId5" Type="http://schemas.openxmlformats.org/officeDocument/2006/relationships/image" Target="../media/image116.png"/><Relationship Id="rId15" Type="http://schemas.openxmlformats.org/officeDocument/2006/relationships/image" Target="../media/image126.png"/><Relationship Id="rId10" Type="http://schemas.openxmlformats.org/officeDocument/2006/relationships/image" Target="../media/image121.png"/><Relationship Id="rId4" Type="http://schemas.openxmlformats.org/officeDocument/2006/relationships/image" Target="../media/image115.png"/><Relationship Id="rId9" Type="http://schemas.openxmlformats.org/officeDocument/2006/relationships/image" Target="../media/image120.png"/><Relationship Id="rId14" Type="http://schemas.openxmlformats.org/officeDocument/2006/relationships/image" Target="../media/image1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3" Type="http://schemas.openxmlformats.org/officeDocument/2006/relationships/image" Target="../media/image127.png"/><Relationship Id="rId7" Type="http://schemas.openxmlformats.org/officeDocument/2006/relationships/image" Target="../media/image1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0.png"/><Relationship Id="rId5" Type="http://schemas.openxmlformats.org/officeDocument/2006/relationships/image" Target="../media/image129.png"/><Relationship Id="rId4" Type="http://schemas.openxmlformats.org/officeDocument/2006/relationships/image" Target="../media/image128.png"/><Relationship Id="rId9" Type="http://schemas.openxmlformats.org/officeDocument/2006/relationships/image" Target="../media/image13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emf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36.png"/><Relationship Id="rId7" Type="http://schemas.openxmlformats.org/officeDocument/2006/relationships/image" Target="../media/image140.sv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186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10" Type="http://schemas.openxmlformats.org/officeDocument/2006/relationships/hyperlink" Target="https://event.on24.com/eventRegistration/EventLobbyServlet?target=reg20.jsp&amp;partnerref=web&amp;eventid=3004306&amp;sessionid=1&amp;key=F098A4452523F3AA0101D41EB91DD232&amp;regTag=2063753&amp;V2=false&amp;sourcepage=register" TargetMode="External"/><Relationship Id="rId4" Type="http://schemas.openxmlformats.org/officeDocument/2006/relationships/image" Target="../media/image137.png"/><Relationship Id="rId9" Type="http://schemas.openxmlformats.org/officeDocument/2006/relationships/image" Target="../media/image14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ship&#10;&#10;Description automatically generated">
            <a:extLst>
              <a:ext uri="{FF2B5EF4-FFF2-40B4-BE49-F238E27FC236}">
                <a16:creationId xmlns:a16="http://schemas.microsoft.com/office/drawing/2014/main" id="{22CC1F17-BF0B-4F08-9A55-3A1CB90D565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C2A2A891-8104-470F-A61B-3D2512935C4D}"/>
              </a:ext>
            </a:extLst>
          </p:cNvPr>
          <p:cNvGrpSpPr/>
          <p:nvPr/>
        </p:nvGrpSpPr>
        <p:grpSpPr>
          <a:xfrm rot="5400000">
            <a:off x="511227" y="5756866"/>
            <a:ext cx="607465" cy="472392"/>
            <a:chOff x="1748589" y="1140618"/>
            <a:chExt cx="1233488" cy="959216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046EFEBD-AB27-4306-B5B5-E7D88F0921D6}"/>
                </a:ext>
              </a:extLst>
            </p:cNvPr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31CCE34-C4E3-4BB7-9F8E-C397EE39A588}"/>
                </a:ext>
              </a:extLst>
            </p:cNvPr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2E3A43FB-517E-4A68-AA31-EA2F8F6D3754}"/>
                </a:ext>
              </a:extLst>
            </p:cNvPr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278E4EE3-7785-4136-B36C-4702CB6F2C0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4931" y="678557"/>
            <a:ext cx="1828362" cy="5252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6D99903-6E4C-BF4A-BE03-291B4D52A2DC}"/>
              </a:ext>
            </a:extLst>
          </p:cNvPr>
          <p:cNvSpPr txBox="1"/>
          <p:nvPr/>
        </p:nvSpPr>
        <p:spPr>
          <a:xfrm>
            <a:off x="1735810" y="4510006"/>
            <a:ext cx="914400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>
              <a:spcBef>
                <a:spcPts val="587"/>
              </a:spcBef>
              <a:buSzPct val="100000"/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8A7EFA-1662-D24A-83F9-3568C7F589CD}"/>
              </a:ext>
            </a:extLst>
          </p:cNvPr>
          <p:cNvSpPr txBox="1"/>
          <p:nvPr/>
        </p:nvSpPr>
        <p:spPr>
          <a:xfrm>
            <a:off x="1188100" y="5589650"/>
            <a:ext cx="10293742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>
              <a:spcBef>
                <a:spcPts val="587"/>
              </a:spcBef>
              <a:buSzPct val="100000"/>
            </a:pPr>
            <a:r>
              <a:rPr lang="en-US" sz="2000" dirty="0">
                <a:solidFill>
                  <a:schemeClr val="bg1"/>
                </a:solidFill>
              </a:rPr>
              <a:t>Maximize OTT performance: </a:t>
            </a:r>
          </a:p>
          <a:p>
            <a:pPr>
              <a:spcBef>
                <a:spcPts val="587"/>
              </a:spcBef>
              <a:buSzPct val="100000"/>
            </a:pPr>
            <a:r>
              <a:rPr lang="en-US" sz="2000" dirty="0">
                <a:solidFill>
                  <a:schemeClr val="bg1"/>
                </a:solidFill>
              </a:rPr>
              <a:t>How dynamic creative technologies and AI can influence the streaming advertising landscape</a:t>
            </a:r>
          </a:p>
        </p:txBody>
      </p:sp>
    </p:spTree>
    <p:extLst>
      <p:ext uri="{BB962C8B-B14F-4D97-AF65-F5344CB8AC3E}">
        <p14:creationId xmlns:p14="http://schemas.microsoft.com/office/powerpoint/2010/main" val="134301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1470" y="466926"/>
            <a:ext cx="10242089" cy="495810"/>
          </a:xfrm>
        </p:spPr>
        <p:txBody>
          <a:bodyPr anchor="ctr">
            <a:noAutofit/>
          </a:bodyPr>
          <a:lstStyle/>
          <a:p>
            <a:pPr lvl="0" defTabSz="914400">
              <a:lnSpc>
                <a:spcPct val="100000"/>
              </a:lnSpc>
              <a:spcBef>
                <a:spcPts val="587"/>
              </a:spcBef>
              <a:buSzPct val="100000"/>
            </a:pPr>
            <a:r>
              <a:rPr lang="en-US" sz="2000" b="0" dirty="0">
                <a:solidFill>
                  <a:srgbClr val="1A76BC"/>
                </a:solidFill>
                <a:ea typeface="+mn-ea"/>
                <a:cs typeface="+mn-cs"/>
              </a:rPr>
              <a:t>Maximize OTT performance: </a:t>
            </a:r>
            <a:br>
              <a:rPr lang="en-US" sz="2000" b="0" dirty="0">
                <a:solidFill>
                  <a:srgbClr val="1A76BC"/>
                </a:solidFill>
                <a:ea typeface="+mn-ea"/>
                <a:cs typeface="+mn-cs"/>
              </a:rPr>
            </a:br>
            <a:r>
              <a:rPr lang="en-US" sz="2000" b="0" dirty="0">
                <a:solidFill>
                  <a:srgbClr val="1A76BC"/>
                </a:solidFill>
                <a:ea typeface="+mn-ea"/>
                <a:cs typeface="+mn-cs"/>
              </a:rPr>
              <a:t>How dynamic creative technologies and AI can influence the streaming advertising landscap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C8C95C-D84B-9D4C-BF6C-F55BB471588C}"/>
              </a:ext>
            </a:extLst>
          </p:cNvPr>
          <p:cNvSpPr/>
          <p:nvPr/>
        </p:nvSpPr>
        <p:spPr>
          <a:xfrm>
            <a:off x="9590567" y="5528930"/>
            <a:ext cx="2601433" cy="13290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L"/>
          </a:p>
        </p:txBody>
      </p:sp>
      <p:sp>
        <p:nvSpPr>
          <p:cNvPr id="17" name="Rectangle: Diagonal Corners Rounded 5">
            <a:extLst>
              <a:ext uri="{FF2B5EF4-FFF2-40B4-BE49-F238E27FC236}">
                <a16:creationId xmlns:a16="http://schemas.microsoft.com/office/drawing/2014/main" id="{457F0272-AE18-8846-B081-364F08FE1184}"/>
              </a:ext>
            </a:extLst>
          </p:cNvPr>
          <p:cNvSpPr/>
          <p:nvPr/>
        </p:nvSpPr>
        <p:spPr>
          <a:xfrm>
            <a:off x="359233" y="4918880"/>
            <a:ext cx="9231331" cy="1632053"/>
          </a:xfrm>
          <a:prstGeom prst="round2DiagRect">
            <a:avLst/>
          </a:prstGeom>
          <a:solidFill>
            <a:srgbClr val="0072BA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PH" sz="3200" b="1" dirty="0">
                <a:solidFill>
                  <a:schemeClr val="bg1"/>
                </a:solidFill>
              </a:rPr>
              <a:t>Tom Koch</a:t>
            </a:r>
          </a:p>
          <a:p>
            <a:pPr algn="ctr"/>
            <a:r>
              <a:rPr lang="en-PH" sz="2400" dirty="0">
                <a:solidFill>
                  <a:schemeClr val="bg1"/>
                </a:solidFill>
              </a:rPr>
              <a:t>Associate Director, Strategic Sales &amp; Partnerships</a:t>
            </a:r>
          </a:p>
          <a:p>
            <a:pPr algn="ctr"/>
            <a:r>
              <a:rPr lang="en-PH" sz="2400" b="1" dirty="0">
                <a:solidFill>
                  <a:schemeClr val="bg1"/>
                </a:solidFill>
              </a:rPr>
              <a:t>Xandr</a:t>
            </a:r>
          </a:p>
        </p:txBody>
      </p:sp>
      <p:sp>
        <p:nvSpPr>
          <p:cNvPr id="18" name="Rectangle: Diagonal Corners Rounded 20">
            <a:extLst>
              <a:ext uri="{FF2B5EF4-FFF2-40B4-BE49-F238E27FC236}">
                <a16:creationId xmlns:a16="http://schemas.microsoft.com/office/drawing/2014/main" id="{070E7C3D-2590-5148-8701-5E8443047BFF}"/>
              </a:ext>
            </a:extLst>
          </p:cNvPr>
          <p:cNvSpPr/>
          <p:nvPr/>
        </p:nvSpPr>
        <p:spPr>
          <a:xfrm>
            <a:off x="359233" y="1447444"/>
            <a:ext cx="9231333" cy="1657622"/>
          </a:xfrm>
          <a:prstGeom prst="round2DiagRect">
            <a:avLst/>
          </a:prstGeom>
          <a:solidFill>
            <a:srgbClr val="0072BA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PH" sz="3200" b="1" dirty="0">
                <a:solidFill>
                  <a:schemeClr val="bg1"/>
                </a:solidFill>
              </a:rPr>
              <a:t>Clare Clifford</a:t>
            </a:r>
          </a:p>
          <a:p>
            <a:pPr algn="ctr"/>
            <a:r>
              <a:rPr lang="en-PH" sz="2400" dirty="0">
                <a:solidFill>
                  <a:schemeClr val="bg1"/>
                </a:solidFill>
              </a:rPr>
              <a:t>Product Marketing Lead</a:t>
            </a:r>
          </a:p>
          <a:p>
            <a:pPr algn="ctr"/>
            <a:r>
              <a:rPr lang="en-PH" sz="2400" b="1" dirty="0">
                <a:solidFill>
                  <a:schemeClr val="bg1"/>
                </a:solidFill>
              </a:rPr>
              <a:t>IBM Watson Advertising</a:t>
            </a:r>
          </a:p>
        </p:txBody>
      </p:sp>
      <p:sp>
        <p:nvSpPr>
          <p:cNvPr id="19" name="Rectangle: Diagonal Corners Rounded 5">
            <a:extLst>
              <a:ext uri="{FF2B5EF4-FFF2-40B4-BE49-F238E27FC236}">
                <a16:creationId xmlns:a16="http://schemas.microsoft.com/office/drawing/2014/main" id="{8D75103A-D13A-2949-86B0-03B700D789EF}"/>
              </a:ext>
            </a:extLst>
          </p:cNvPr>
          <p:cNvSpPr/>
          <p:nvPr/>
        </p:nvSpPr>
        <p:spPr>
          <a:xfrm>
            <a:off x="359234" y="3201415"/>
            <a:ext cx="9231332" cy="1632053"/>
          </a:xfrm>
          <a:prstGeom prst="round2DiagRect">
            <a:avLst/>
          </a:prstGeom>
          <a:solidFill>
            <a:srgbClr val="0072BA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PH" sz="3200" b="1" dirty="0">
                <a:solidFill>
                  <a:schemeClr val="bg1"/>
                </a:solidFill>
              </a:rPr>
              <a:t>Rachel </a:t>
            </a:r>
            <a:r>
              <a:rPr lang="en-PH" sz="3200" b="1" dirty="0" err="1">
                <a:solidFill>
                  <a:schemeClr val="bg1"/>
                </a:solidFill>
              </a:rPr>
              <a:t>Chukura</a:t>
            </a:r>
            <a:endParaRPr lang="en-PH" sz="3200" b="1" dirty="0">
              <a:solidFill>
                <a:schemeClr val="bg1"/>
              </a:solidFill>
            </a:endParaRPr>
          </a:p>
          <a:p>
            <a:pPr algn="ctr"/>
            <a:r>
              <a:rPr lang="en-PH" sz="2400" dirty="0">
                <a:solidFill>
                  <a:schemeClr val="bg1"/>
                </a:solidFill>
              </a:rPr>
              <a:t>Offering Manager, IBM Watson Advertising Accelerator</a:t>
            </a:r>
          </a:p>
          <a:p>
            <a:pPr algn="ctr"/>
            <a:r>
              <a:rPr lang="en-PH" sz="2400" b="1" dirty="0">
                <a:solidFill>
                  <a:schemeClr val="bg1"/>
                </a:solidFill>
              </a:rPr>
              <a:t>IBM Watson Advertis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24C117-223F-FD41-80B7-D62A376D14B3}"/>
              </a:ext>
            </a:extLst>
          </p:cNvPr>
          <p:cNvSpPr txBox="1"/>
          <p:nvPr/>
        </p:nvSpPr>
        <p:spPr>
          <a:xfrm>
            <a:off x="3615070" y="6762307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457200" indent="-457200">
              <a:spcBef>
                <a:spcPts val="587"/>
              </a:spcBef>
              <a:buSzPct val="100000"/>
              <a:buBlip>
                <a:blip r:embed="rId3"/>
              </a:buBlip>
            </a:pPr>
            <a:endParaRPr lang="en-PL" sz="2800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4" name="Picture 3" descr="A person in a suit and tie&#10;&#10;Description automatically generated with medium confidence">
            <a:extLst>
              <a:ext uri="{FF2B5EF4-FFF2-40B4-BE49-F238E27FC236}">
                <a16:creationId xmlns:a16="http://schemas.microsoft.com/office/drawing/2014/main" id="{9D0B9446-4920-E748-B11D-562CCF5865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9745" y="4973478"/>
            <a:ext cx="1587500" cy="1587500"/>
          </a:xfrm>
          <a:prstGeom prst="rect">
            <a:avLst/>
          </a:prstGeom>
        </p:spPr>
      </p:pic>
      <p:pic>
        <p:nvPicPr>
          <p:cNvPr id="6" name="Picture 5" descr="A person with long hair smiling&#10;&#10;Description automatically generated with low confidence">
            <a:extLst>
              <a:ext uri="{FF2B5EF4-FFF2-40B4-BE49-F238E27FC236}">
                <a16:creationId xmlns:a16="http://schemas.microsoft.com/office/drawing/2014/main" id="{5D9A44AB-266A-8F49-AE5D-803D4931DA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39745" y="3210461"/>
            <a:ext cx="1587500" cy="1587500"/>
          </a:xfrm>
          <a:prstGeom prst="rect">
            <a:avLst/>
          </a:prstGeom>
        </p:spPr>
      </p:pic>
      <p:pic>
        <p:nvPicPr>
          <p:cNvPr id="8" name="Picture 7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40F17A36-A626-AA4E-8BF3-70F93D218D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39745" y="1447444"/>
            <a:ext cx="1587500" cy="158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52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A027699-6485-7C4B-826A-0F6A59A2AC43}"/>
              </a:ext>
            </a:extLst>
          </p:cNvPr>
          <p:cNvSpPr/>
          <p:nvPr/>
        </p:nvSpPr>
        <p:spPr>
          <a:xfrm>
            <a:off x="120581" y="1179004"/>
            <a:ext cx="2853735" cy="182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621"/>
            <a:r>
              <a:rPr lang="en-US" sz="8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T </a:t>
            </a:r>
          </a:p>
          <a:p>
            <a:pPr algn="ctr" defTabSz="914621"/>
            <a:r>
              <a:rPr lang="en-US" sz="2667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-the-top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623BE04-CCD7-C847-B3E8-BF1BA4773A65}"/>
              </a:ext>
            </a:extLst>
          </p:cNvPr>
          <p:cNvSpPr/>
          <p:nvPr/>
        </p:nvSpPr>
        <p:spPr>
          <a:xfrm>
            <a:off x="120582" y="3723751"/>
            <a:ext cx="2987711" cy="1822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621"/>
            <a:r>
              <a:rPr lang="en-US" sz="8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TV</a:t>
            </a:r>
          </a:p>
          <a:p>
            <a:pPr algn="ctr" defTabSz="914621"/>
            <a:r>
              <a:rPr lang="en-US" sz="2667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ed TV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A8BFAE8-A804-2347-951B-C26CDC5888F7}"/>
              </a:ext>
            </a:extLst>
          </p:cNvPr>
          <p:cNvSpPr/>
          <p:nvPr/>
        </p:nvSpPr>
        <p:spPr>
          <a:xfrm>
            <a:off x="2639368" y="1379134"/>
            <a:ext cx="1636704" cy="1045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621"/>
            <a:r>
              <a:rPr lang="en-US" sz="8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6A1446-E6FE-1247-8076-4826BA162F18}"/>
              </a:ext>
            </a:extLst>
          </p:cNvPr>
          <p:cNvSpPr/>
          <p:nvPr/>
        </p:nvSpPr>
        <p:spPr>
          <a:xfrm>
            <a:off x="4093032" y="1179004"/>
            <a:ext cx="2853736" cy="182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621"/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content streamed via the interne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489529-54BA-584C-A8A5-A9CD98C5B0FB}"/>
              </a:ext>
            </a:extLst>
          </p:cNvPr>
          <p:cNvSpPr/>
          <p:nvPr/>
        </p:nvSpPr>
        <p:spPr>
          <a:xfrm>
            <a:off x="2639368" y="3923881"/>
            <a:ext cx="1636704" cy="1045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621"/>
            <a:r>
              <a:rPr lang="en-US" sz="8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6380E0-6986-0840-B59D-5F71C2FBCDB1}"/>
              </a:ext>
            </a:extLst>
          </p:cNvPr>
          <p:cNvSpPr/>
          <p:nvPr/>
        </p:nvSpPr>
        <p:spPr>
          <a:xfrm>
            <a:off x="4093033" y="3723751"/>
            <a:ext cx="2987712" cy="182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621"/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evice used to stream OTT content</a:t>
            </a:r>
          </a:p>
        </p:txBody>
      </p:sp>
      <p:pic>
        <p:nvPicPr>
          <p:cNvPr id="1026" name="Picture 2" descr="Free stock photo of appartment, at home, beautiful home">
            <a:extLst>
              <a:ext uri="{FF2B5EF4-FFF2-40B4-BE49-F238E27FC236}">
                <a16:creationId xmlns:a16="http://schemas.microsoft.com/office/drawing/2014/main" id="{DFB5CB2F-F9FF-634F-8574-A6A584F5CB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999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2489529-54BA-584C-A8A5-A9CD98C5B0FB}"/>
              </a:ext>
            </a:extLst>
          </p:cNvPr>
          <p:cNvSpPr/>
          <p:nvPr/>
        </p:nvSpPr>
        <p:spPr>
          <a:xfrm>
            <a:off x="2639368" y="3923881"/>
            <a:ext cx="1636704" cy="1045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621"/>
            <a:r>
              <a:rPr lang="en-US" sz="8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5E7DC52-DD0C-5545-9F17-CD9F9085A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957" y="863601"/>
            <a:ext cx="5495243" cy="672033"/>
          </a:xfrm>
        </p:spPr>
        <p:txBody>
          <a:bodyPr/>
          <a:lstStyle/>
          <a:p>
            <a:r>
              <a:rPr lang="en-US" dirty="0"/>
              <a:t>Via connected, streaming TV services, advertisers can reach more tha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5AFA900-0B90-D942-93AC-C4DB46C520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5957" y="1674725"/>
            <a:ext cx="5800043" cy="4319675"/>
          </a:xfrm>
        </p:spPr>
        <p:txBody>
          <a:bodyPr/>
          <a:lstStyle/>
          <a:p>
            <a:r>
              <a:rPr lang="en-US" sz="8000" dirty="0"/>
              <a:t>84 million households</a:t>
            </a:r>
          </a:p>
        </p:txBody>
      </p:sp>
      <p:pic>
        <p:nvPicPr>
          <p:cNvPr id="2058" name="Picture 10" descr="Top-view Photography of City">
            <a:extLst>
              <a:ext uri="{FF2B5EF4-FFF2-40B4-BE49-F238E27FC236}">
                <a16:creationId xmlns:a16="http://schemas.microsoft.com/office/drawing/2014/main" id="{F40E136C-F043-ED4B-9DA5-00B5297392EF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6" r="23239"/>
          <a:stretch/>
        </p:blipFill>
        <p:spPr bwMode="auto">
          <a:xfrm>
            <a:off x="6388611" y="0"/>
            <a:ext cx="580338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Google Shape;1258;p184">
            <a:extLst>
              <a:ext uri="{FF2B5EF4-FFF2-40B4-BE49-F238E27FC236}">
                <a16:creationId xmlns:a16="http://schemas.microsoft.com/office/drawing/2014/main" id="{337B67A8-D6DF-0149-9965-6E011AF13ED5}"/>
              </a:ext>
            </a:extLst>
          </p:cNvPr>
          <p:cNvSpPr txBox="1">
            <a:spLocks/>
          </p:cNvSpPr>
          <p:nvPr/>
        </p:nvSpPr>
        <p:spPr>
          <a:xfrm>
            <a:off x="304889" y="6383868"/>
            <a:ext cx="5486313" cy="22224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marL="0" algn="r" defTabSz="685983" rtl="0" eaLnBrk="1" latinLnBrk="0" hangingPunct="1">
              <a:defRPr sz="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91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83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974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966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957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949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940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932" algn="l" defTabSz="685983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219170">
              <a:buClr>
                <a:srgbClr val="FFFFFF"/>
              </a:buClr>
              <a:buSzPts val="600"/>
              <a:defRPr/>
            </a:pPr>
            <a:r>
              <a:rPr lang="en-US" sz="800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Source: eMarketer 2021 </a:t>
            </a:r>
          </a:p>
        </p:txBody>
      </p:sp>
    </p:spTree>
    <p:extLst>
      <p:ext uri="{BB962C8B-B14F-4D97-AF65-F5344CB8AC3E}">
        <p14:creationId xmlns:p14="http://schemas.microsoft.com/office/powerpoint/2010/main" val="573964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family sitting on a couch&#10;&#10;Description automatically generated with medium confidence">
            <a:extLst>
              <a:ext uri="{FF2B5EF4-FFF2-40B4-BE49-F238E27FC236}">
                <a16:creationId xmlns:a16="http://schemas.microsoft.com/office/drawing/2014/main" id="{C06E7813-51A6-DA44-8666-B1537B8E14A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424" r="1" b="23450"/>
          <a:stretch/>
        </p:blipFill>
        <p:spPr>
          <a:xfrm>
            <a:off x="4493437" y="244"/>
            <a:ext cx="7698564" cy="3346705"/>
          </a:xfrm>
          <a:custGeom>
            <a:avLst/>
            <a:gdLst/>
            <a:ahLst/>
            <a:cxnLst/>
            <a:rect l="l" t="t" r="r" b="b"/>
            <a:pathLst>
              <a:path w="7698564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6451640" y="0"/>
                </a:lnTo>
                <a:lnTo>
                  <a:pt x="6451640" y="479"/>
                </a:lnTo>
                <a:lnTo>
                  <a:pt x="7698564" y="479"/>
                </a:lnTo>
                <a:lnTo>
                  <a:pt x="7698564" y="3346705"/>
                </a:lnTo>
                <a:lnTo>
                  <a:pt x="0" y="3346705"/>
                </a:lnTo>
                <a:close/>
              </a:path>
            </a:pathLst>
          </a:custGeom>
        </p:spPr>
      </p:pic>
      <p:pic>
        <p:nvPicPr>
          <p:cNvPr id="3086" name="Picture 14" descr="Man in Black Shirt Sitting Beside Woman in White Shirt">
            <a:extLst>
              <a:ext uri="{FF2B5EF4-FFF2-40B4-BE49-F238E27FC236}">
                <a16:creationId xmlns:a16="http://schemas.microsoft.com/office/drawing/2014/main" id="{4A7A9888-AB64-9F43-A38E-9720C23386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 b="14437"/>
          <a:stretch/>
        </p:blipFill>
        <p:spPr bwMode="auto">
          <a:xfrm>
            <a:off x="28" y="13"/>
            <a:ext cx="5859769" cy="3346691"/>
          </a:xfrm>
          <a:custGeom>
            <a:avLst/>
            <a:gdLst/>
            <a:ahLst/>
            <a:cxnLst/>
            <a:rect l="l" t="t" r="r" b="b"/>
            <a:pathLst>
              <a:path w="5859797" h="3346705">
                <a:moveTo>
                  <a:pt x="0" y="0"/>
                </a:moveTo>
                <a:lnTo>
                  <a:pt x="5859797" y="0"/>
                </a:lnTo>
                <a:lnTo>
                  <a:pt x="4309834" y="3346705"/>
                </a:lnTo>
                <a:lnTo>
                  <a:pt x="4304257" y="3346705"/>
                </a:lnTo>
                <a:lnTo>
                  <a:pt x="3238029" y="3346705"/>
                </a:lnTo>
                <a:lnTo>
                  <a:pt x="0" y="3346705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Free stock photo of appartment, at home, beautiful home">
            <a:extLst>
              <a:ext uri="{FF2B5EF4-FFF2-40B4-BE49-F238E27FC236}">
                <a16:creationId xmlns:a16="http://schemas.microsoft.com/office/drawing/2014/main" id="{F8C02883-B886-D94E-B937-B5C1C8A9E8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49" r="1" b="52612"/>
          <a:stretch/>
        </p:blipFill>
        <p:spPr bwMode="auto">
          <a:xfrm>
            <a:off x="6350088" y="3511296"/>
            <a:ext cx="5841912" cy="3346705"/>
          </a:xfrm>
          <a:custGeom>
            <a:avLst/>
            <a:gdLst/>
            <a:ahLst/>
            <a:cxnLst/>
            <a:rect l="l" t="t" r="r" b="b"/>
            <a:pathLst>
              <a:path w="5841911" h="3346705">
                <a:moveTo>
                  <a:pt x="1549963" y="0"/>
                </a:moveTo>
                <a:lnTo>
                  <a:pt x="1555540" y="0"/>
                </a:lnTo>
                <a:lnTo>
                  <a:pt x="2621768" y="0"/>
                </a:lnTo>
                <a:lnTo>
                  <a:pt x="5841911" y="0"/>
                </a:lnTo>
                <a:lnTo>
                  <a:pt x="5841911" y="3346705"/>
                </a:lnTo>
                <a:lnTo>
                  <a:pt x="0" y="3346705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Tv, Man, Watching, Room, Office, Modern, Technology">
            <a:extLst>
              <a:ext uri="{FF2B5EF4-FFF2-40B4-BE49-F238E27FC236}">
                <a16:creationId xmlns:a16="http://schemas.microsoft.com/office/drawing/2014/main" id="{CD2F7E32-70D2-EE48-AE25-6495940124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" t="5" r="-114" b="25045"/>
          <a:stretch/>
        </p:blipFill>
        <p:spPr bwMode="auto">
          <a:xfrm>
            <a:off x="28" y="3511296"/>
            <a:ext cx="7698537" cy="3346705"/>
          </a:xfrm>
          <a:custGeom>
            <a:avLst/>
            <a:gdLst/>
            <a:ahLst/>
            <a:cxnLst/>
            <a:rect l="l" t="t" r="r" b="b"/>
            <a:pathLst>
              <a:path w="7698564" h="3346705">
                <a:moveTo>
                  <a:pt x="0" y="0"/>
                </a:moveTo>
                <a:lnTo>
                  <a:pt x="7698564" y="0"/>
                </a:lnTo>
                <a:lnTo>
                  <a:pt x="6148601" y="3346705"/>
                </a:lnTo>
                <a:lnTo>
                  <a:pt x="6143024" y="3346705"/>
                </a:lnTo>
                <a:lnTo>
                  <a:pt x="5076796" y="3346705"/>
                </a:lnTo>
                <a:lnTo>
                  <a:pt x="1246924" y="3346705"/>
                </a:lnTo>
                <a:lnTo>
                  <a:pt x="1246924" y="3346226"/>
                </a:lnTo>
                <a:lnTo>
                  <a:pt x="0" y="3346226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499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12E25B-C3E9-E24A-AD57-505E45055E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PH" dirty="0">
                <a:cs typeface="Gotham Bold" pitchFamily="50" charset="0"/>
              </a:rPr>
              <a:t>Asking Questions, Sharing Insights</a:t>
            </a:r>
            <a:endParaRPr lang="en-P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D4B65E-9CB5-4749-A33D-2B992330EEEB}"/>
              </a:ext>
            </a:extLst>
          </p:cNvPr>
          <p:cNvSpPr txBox="1">
            <a:spLocks/>
          </p:cNvSpPr>
          <p:nvPr/>
        </p:nvSpPr>
        <p:spPr>
          <a:xfrm>
            <a:off x="5364481" y="6306902"/>
            <a:ext cx="6945708" cy="3960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B75B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#MMA   #</a:t>
            </a:r>
            <a:r>
              <a:rPr lang="en-US" sz="2400" dirty="0" err="1">
                <a:solidFill>
                  <a:schemeClr val="bg1"/>
                </a:solidFill>
              </a:rPr>
              <a:t>WeAreInItTogether</a:t>
            </a:r>
            <a:r>
              <a:rPr lang="en-US" sz="2400" dirty="0">
                <a:solidFill>
                  <a:schemeClr val="bg1"/>
                </a:solidFill>
              </a:rPr>
              <a:t>    #</a:t>
            </a:r>
            <a:r>
              <a:rPr lang="en-US" sz="2400" dirty="0" err="1">
                <a:solidFill>
                  <a:schemeClr val="bg1"/>
                </a:solidFill>
              </a:rPr>
              <a:t>ShapeTheFuture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204143DB-3941-0A4E-90FB-0B75D6491C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207" y="1965695"/>
            <a:ext cx="4224535" cy="1494124"/>
          </a:xfrm>
          <a:prstGeom prst="rect">
            <a:avLst/>
          </a:prstGeom>
          <a:effectLst>
            <a:outerShdw blurRad="368300" dist="50800" dir="5400000" sx="102000" sy="102000" algn="ctr" rotWithShape="0">
              <a:srgbClr val="000000">
                <a:alpha val="89000"/>
              </a:srgbClr>
            </a:outerShdw>
          </a:effectLst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DC805C2-6A4C-8146-84E9-4D4D2DF480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849818" flipH="1">
            <a:off x="4172018" y="5464475"/>
            <a:ext cx="1396055" cy="107115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E0CA129-A238-E14E-85FA-DFFEDC398226}"/>
              </a:ext>
            </a:extLst>
          </p:cNvPr>
          <p:cNvSpPr/>
          <p:nvPr/>
        </p:nvSpPr>
        <p:spPr>
          <a:xfrm rot="21226210">
            <a:off x="4604218" y="5405614"/>
            <a:ext cx="56778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b="1" dirty="0"/>
              <a:t>#</a:t>
            </a:r>
            <a:endParaRPr lang="en-PL" sz="6000" dirty="0"/>
          </a:p>
        </p:txBody>
      </p:sp>
    </p:spTree>
    <p:extLst>
      <p:ext uri="{BB962C8B-B14F-4D97-AF65-F5344CB8AC3E}">
        <p14:creationId xmlns:p14="http://schemas.microsoft.com/office/powerpoint/2010/main" val="1263034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F17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8D8B2AA-BA19-4586-AFC5-D86868393C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482757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B25DDAB-0C34-4D0C-B26F-F8E45BAD084F}"/>
              </a:ext>
            </a:extLst>
          </p:cNvPr>
          <p:cNvGrpSpPr/>
          <p:nvPr/>
        </p:nvGrpSpPr>
        <p:grpSpPr>
          <a:xfrm>
            <a:off x="578764" y="3525018"/>
            <a:ext cx="9597060" cy="623572"/>
            <a:chOff x="594004" y="5582649"/>
            <a:chExt cx="9597060" cy="623572"/>
          </a:xfrm>
        </p:grpSpPr>
        <p:sp>
          <p:nvSpPr>
            <p:cNvPr id="20" name="Text Placeholder 4">
              <a:extLst>
                <a:ext uri="{FF2B5EF4-FFF2-40B4-BE49-F238E27FC236}">
                  <a16:creationId xmlns:a16="http://schemas.microsoft.com/office/drawing/2014/main" id="{0C034E31-0E23-4D88-ADE5-7EA2720497A6}"/>
                </a:ext>
              </a:extLst>
            </p:cNvPr>
            <p:cNvSpPr txBox="1">
              <a:spLocks/>
            </p:cNvSpPr>
            <p:nvPr/>
          </p:nvSpPr>
          <p:spPr>
            <a:xfrm>
              <a:off x="1334032" y="5600188"/>
              <a:ext cx="8857032" cy="60603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en-US" sz="4800" kern="1200" smtClean="0">
                  <a:solidFill>
                    <a:schemeClr val="accent1"/>
                  </a:solidFill>
                  <a:latin typeface="Gotham Black" pitchFamily="50" charset="0"/>
                  <a:ea typeface="+mj-ea"/>
                  <a:cs typeface="Gotham Black" pitchFamily="50" charset="0"/>
                </a:defRPr>
              </a:lvl1pPr>
              <a:lvl2pPr marL="228542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lang="en-US" sz="1867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867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8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IN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PH" sz="4200" dirty="0">
                  <a:solidFill>
                    <a:schemeClr val="bg1"/>
                  </a:solidFill>
                  <a:latin typeface="+mn-lt"/>
                  <a:cs typeface="Gotham-MediumItalic" pitchFamily="50" charset="0"/>
                </a:rPr>
                <a:t>Thank you!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2A2A891-8104-470F-A61B-3D2512935C4D}"/>
                </a:ext>
              </a:extLst>
            </p:cNvPr>
            <p:cNvGrpSpPr/>
            <p:nvPr/>
          </p:nvGrpSpPr>
          <p:grpSpPr>
            <a:xfrm rot="5400000">
              <a:off x="526467" y="5650186"/>
              <a:ext cx="607465" cy="472392"/>
              <a:chOff x="1748589" y="1140618"/>
              <a:chExt cx="1233488" cy="959216"/>
            </a:xfrm>
          </p:grpSpPr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046EFEBD-AB27-4306-B5B5-E7D88F0921D6}"/>
                  </a:ext>
                </a:extLst>
              </p:cNvPr>
              <p:cNvSpPr/>
              <p:nvPr userDrawn="1"/>
            </p:nvSpPr>
            <p:spPr>
              <a:xfrm>
                <a:off x="1748589" y="1140618"/>
                <a:ext cx="1233488" cy="207168"/>
              </a:xfrm>
              <a:prstGeom prst="roundRect">
                <a:avLst>
                  <a:gd name="adj" fmla="val 50000"/>
                </a:avLst>
              </a:prstGeom>
              <a:solidFill>
                <a:srgbClr val="F370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A31CCE34-C4E3-4BB7-9F8E-C397EE39A588}"/>
                  </a:ext>
                </a:extLst>
              </p:cNvPr>
              <p:cNvSpPr/>
              <p:nvPr userDrawn="1"/>
            </p:nvSpPr>
            <p:spPr>
              <a:xfrm>
                <a:off x="1748589" y="1516642"/>
                <a:ext cx="1233488" cy="20716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2E3A43FB-517E-4A68-AA31-EA2F8F6D3754}"/>
                  </a:ext>
                </a:extLst>
              </p:cNvPr>
              <p:cNvSpPr/>
              <p:nvPr userDrawn="1"/>
            </p:nvSpPr>
            <p:spPr>
              <a:xfrm>
                <a:off x="1748589" y="1892666"/>
                <a:ext cx="1233488" cy="20716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278E4EE3-7785-4136-B36C-4702CB6F2C0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4931" y="983120"/>
            <a:ext cx="1828362" cy="52521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2479071-362A-8B4D-81B9-0010804BF57B}"/>
              </a:ext>
            </a:extLst>
          </p:cNvPr>
          <p:cNvSpPr/>
          <p:nvPr/>
        </p:nvSpPr>
        <p:spPr>
          <a:xfrm>
            <a:off x="3341240" y="5465109"/>
            <a:ext cx="88507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ssaging Webinar Series: </a:t>
            </a:r>
            <a:b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Future Of Messaging - How Companies Should Prepare For The Next-Generation Of Messaging</a:t>
            </a:r>
            <a:endParaRPr lang="en-GB" sz="1600" b="1" u="none" strike="noStrike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BABC10-DDD1-824F-9FA2-6245532B0FC2}"/>
              </a:ext>
            </a:extLst>
          </p:cNvPr>
          <p:cNvSpPr txBox="1"/>
          <p:nvPr/>
        </p:nvSpPr>
        <p:spPr>
          <a:xfrm>
            <a:off x="10042902" y="5827363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457200" indent="-457200">
              <a:spcBef>
                <a:spcPts val="587"/>
              </a:spcBef>
              <a:buSzPct val="100000"/>
              <a:buBlip>
                <a:blip r:embed="rId5"/>
              </a:buBlip>
            </a:pPr>
            <a:endParaRPr lang="en-GB" sz="2800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15903BC-E595-FA4F-95DE-956F74C780F2}"/>
              </a:ext>
            </a:extLst>
          </p:cNvPr>
          <p:cNvSpPr/>
          <p:nvPr/>
        </p:nvSpPr>
        <p:spPr>
          <a:xfrm>
            <a:off x="3341240" y="5179301"/>
            <a:ext cx="88507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Next:</a:t>
            </a:r>
            <a:endParaRPr lang="en-GB" u="none" strike="noStrike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70CD7A-DDCD-884C-AE63-50310F9DDA1D}"/>
              </a:ext>
            </a:extLst>
          </p:cNvPr>
          <p:cNvSpPr/>
          <p:nvPr/>
        </p:nvSpPr>
        <p:spPr>
          <a:xfrm>
            <a:off x="3341240" y="6055221"/>
            <a:ext cx="966642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8 May - 11am ET  -   </a:t>
            </a:r>
            <a:r>
              <a:rPr lang="en-GB" sz="1600" dirty="0">
                <a:solidFill>
                  <a:schemeClr val="bg1"/>
                </a:solidFill>
              </a:rPr>
              <a:t>Register @  https://</a:t>
            </a:r>
            <a:r>
              <a:rPr lang="en-GB" sz="1600" dirty="0" err="1">
                <a:solidFill>
                  <a:schemeClr val="bg1"/>
                </a:solidFill>
              </a:rPr>
              <a:t>www.mmaglobal.com</a:t>
            </a:r>
            <a:r>
              <a:rPr lang="en-GB" sz="1600" dirty="0">
                <a:solidFill>
                  <a:schemeClr val="bg1"/>
                </a:solidFill>
              </a:rPr>
              <a:t>/webinars</a:t>
            </a:r>
          </a:p>
          <a:p>
            <a:endParaRPr lang="en-GB" sz="1400" u="none" strike="noStrike" dirty="0">
              <a:solidFill>
                <a:schemeClr val="bg1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44D884-423E-AB43-BFF2-3491DCA4AFC6}"/>
              </a:ext>
            </a:extLst>
          </p:cNvPr>
          <p:cNvCxnSpPr/>
          <p:nvPr/>
        </p:nvCxnSpPr>
        <p:spPr>
          <a:xfrm>
            <a:off x="3086100" y="5235553"/>
            <a:ext cx="0" cy="1096667"/>
          </a:xfrm>
          <a:prstGeom prst="line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6026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0" name="Group 299">
            <a:extLst>
              <a:ext uri="{FF2B5EF4-FFF2-40B4-BE49-F238E27FC236}">
                <a16:creationId xmlns:a16="http://schemas.microsoft.com/office/drawing/2014/main" id="{410379B3-23DD-4480-BE10-C7B9FBF8B4C2}"/>
              </a:ext>
            </a:extLst>
          </p:cNvPr>
          <p:cNvGrpSpPr/>
          <p:nvPr/>
        </p:nvGrpSpPr>
        <p:grpSpPr>
          <a:xfrm>
            <a:off x="-104503" y="-300446"/>
            <a:ext cx="12316908" cy="7177421"/>
            <a:chOff x="-124908" y="857"/>
            <a:chExt cx="12316908" cy="685628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BB39E89-B664-47D7-A095-0CB925752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24908" y="857"/>
              <a:ext cx="12316908" cy="6856286"/>
            </a:xfrm>
            <a:prstGeom prst="rect">
              <a:avLst/>
            </a:prstGeom>
          </p:spPr>
        </p:pic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53546374-C314-44D4-8EDC-6930AFDF160B}"/>
                </a:ext>
              </a:extLst>
            </p:cNvPr>
            <p:cNvGrpSpPr/>
            <p:nvPr/>
          </p:nvGrpSpPr>
          <p:grpSpPr>
            <a:xfrm>
              <a:off x="5410006" y="2706880"/>
              <a:ext cx="486301" cy="650577"/>
              <a:chOff x="5363544" y="2787379"/>
              <a:chExt cx="486301" cy="650577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FBB2B5D-F7C3-4FB2-9247-CCA4FED33E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63544" y="2787379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3" name="Picture 112">
                <a:extLst>
                  <a:ext uri="{FF2B5EF4-FFF2-40B4-BE49-F238E27FC236}">
                    <a16:creationId xmlns:a16="http://schemas.microsoft.com/office/drawing/2014/main" id="{C257E41F-90F9-4924-B403-737B6D2C2A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43774" y="2869326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07509F34-3BBF-444A-B00C-D57A5968AC3E}"/>
                </a:ext>
              </a:extLst>
            </p:cNvPr>
            <p:cNvGrpSpPr/>
            <p:nvPr/>
          </p:nvGrpSpPr>
          <p:grpSpPr>
            <a:xfrm>
              <a:off x="9180360" y="4214131"/>
              <a:ext cx="486301" cy="650577"/>
              <a:chOff x="9244208" y="4192935"/>
              <a:chExt cx="486301" cy="650577"/>
            </a:xfrm>
          </p:grpSpPr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04E3B17E-5A81-4307-9BA9-26B8BE7DD9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244208" y="4192935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4" name="Picture 113">
                <a:extLst>
                  <a:ext uri="{FF2B5EF4-FFF2-40B4-BE49-F238E27FC236}">
                    <a16:creationId xmlns:a16="http://schemas.microsoft.com/office/drawing/2014/main" id="{089AFB6F-A643-4C5B-8CA5-D5DBB72B4F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4438" y="4273686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6019EFF5-3736-4943-9ACF-200C0501E8E4}"/>
                </a:ext>
              </a:extLst>
            </p:cNvPr>
            <p:cNvGrpSpPr/>
            <p:nvPr/>
          </p:nvGrpSpPr>
          <p:grpSpPr>
            <a:xfrm>
              <a:off x="3908192" y="5637683"/>
              <a:ext cx="486301" cy="650577"/>
              <a:chOff x="3908192" y="5637683"/>
              <a:chExt cx="486301" cy="650577"/>
            </a:xfrm>
          </p:grpSpPr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1ECDB1F7-0E99-4E6D-A621-FBB9C26338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08192" y="5637683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39E456AA-418C-4245-8FAA-7D04F971FB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91539" y="5717766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DF79A65D-5506-44D8-BC8B-FF1886098227}"/>
                </a:ext>
              </a:extLst>
            </p:cNvPr>
            <p:cNvGrpSpPr/>
            <p:nvPr/>
          </p:nvGrpSpPr>
          <p:grpSpPr>
            <a:xfrm>
              <a:off x="4284112" y="4808550"/>
              <a:ext cx="486301" cy="650577"/>
              <a:chOff x="4284112" y="4808550"/>
              <a:chExt cx="486301" cy="650577"/>
            </a:xfrm>
          </p:grpSpPr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87441633-B71E-457C-B782-E91863383E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84112" y="4808550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2B0D515F-957E-4808-ADA0-B272D4D116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66983" y="4887750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A4E7C478-D3F8-4862-AA9A-9F07C4278848}"/>
                </a:ext>
              </a:extLst>
            </p:cNvPr>
            <p:cNvGrpSpPr/>
            <p:nvPr/>
          </p:nvGrpSpPr>
          <p:grpSpPr>
            <a:xfrm>
              <a:off x="9595864" y="3832683"/>
              <a:ext cx="486301" cy="650577"/>
              <a:chOff x="9622790" y="3573891"/>
              <a:chExt cx="486301" cy="650577"/>
            </a:xfrm>
          </p:grpSpPr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21270C0C-1A9E-4EA6-A865-44D2B07B7B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622790" y="3573891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127D608B-392C-4BC0-A4A0-E0DF0AB0B4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04925" y="3654173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5E30B837-95F4-4CAD-8DB5-99FD9F3DB3FB}"/>
                </a:ext>
              </a:extLst>
            </p:cNvPr>
            <p:cNvGrpSpPr/>
            <p:nvPr/>
          </p:nvGrpSpPr>
          <p:grpSpPr>
            <a:xfrm>
              <a:off x="8017547" y="4078649"/>
              <a:ext cx="486301" cy="650577"/>
              <a:chOff x="8017547" y="4078649"/>
              <a:chExt cx="486301" cy="650577"/>
            </a:xfrm>
          </p:grpSpPr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85874C7B-F5A1-4C7C-887B-A34F7B64FC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17547" y="4078649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2D1E96BC-6588-4B82-A51C-148D943CD5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99422" y="4157972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18FC6696-8B2B-4BD4-AF2C-D16683F203CD}"/>
                </a:ext>
              </a:extLst>
            </p:cNvPr>
            <p:cNvGrpSpPr/>
            <p:nvPr/>
          </p:nvGrpSpPr>
          <p:grpSpPr>
            <a:xfrm>
              <a:off x="6258163" y="5034932"/>
              <a:ext cx="486301" cy="650577"/>
              <a:chOff x="6258163" y="5034932"/>
              <a:chExt cx="486301" cy="650577"/>
            </a:xfrm>
          </p:grpSpPr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A0E80301-F3EF-4A4F-8EAC-CC418258CF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58163" y="5034932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0" name="Picture 109">
                <a:extLst>
                  <a:ext uri="{FF2B5EF4-FFF2-40B4-BE49-F238E27FC236}">
                    <a16:creationId xmlns:a16="http://schemas.microsoft.com/office/drawing/2014/main" id="{B1F2E764-7827-4C05-AD92-258699A3E5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38395" y="5114067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2BF754E-EEB6-4BC1-9455-DCDDCC283080}"/>
                </a:ext>
              </a:extLst>
            </p:cNvPr>
            <p:cNvGrpSpPr/>
            <p:nvPr/>
          </p:nvGrpSpPr>
          <p:grpSpPr>
            <a:xfrm>
              <a:off x="6584695" y="3356984"/>
              <a:ext cx="486301" cy="650577"/>
              <a:chOff x="6584695" y="3356984"/>
              <a:chExt cx="486301" cy="650577"/>
            </a:xfrm>
          </p:grpSpPr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5229D0C1-CA30-49F4-8AD9-74D3FDB597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84695" y="3356984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1" name="Picture 110">
                <a:extLst>
                  <a:ext uri="{FF2B5EF4-FFF2-40B4-BE49-F238E27FC236}">
                    <a16:creationId xmlns:a16="http://schemas.microsoft.com/office/drawing/2014/main" id="{081E7A84-2BF6-43DB-BDDF-988A88B297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67463" y="3435090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D4E85F7D-37BA-40B3-B077-0F6709226742}"/>
                </a:ext>
              </a:extLst>
            </p:cNvPr>
            <p:cNvGrpSpPr/>
            <p:nvPr/>
          </p:nvGrpSpPr>
          <p:grpSpPr>
            <a:xfrm>
              <a:off x="7296730" y="3832684"/>
              <a:ext cx="486301" cy="650577"/>
              <a:chOff x="7296730" y="3832684"/>
              <a:chExt cx="486301" cy="650577"/>
            </a:xfrm>
          </p:grpSpPr>
          <p:pic>
            <p:nvPicPr>
              <p:cNvPr id="139" name="Picture 138">
                <a:extLst>
                  <a:ext uri="{FF2B5EF4-FFF2-40B4-BE49-F238E27FC236}">
                    <a16:creationId xmlns:a16="http://schemas.microsoft.com/office/drawing/2014/main" id="{FB0B4EC9-4A6F-4B7F-8C9C-C656FBBF9F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96730" y="3832684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2" name="Picture 111">
                <a:extLst>
                  <a:ext uri="{FF2B5EF4-FFF2-40B4-BE49-F238E27FC236}">
                    <a16:creationId xmlns:a16="http://schemas.microsoft.com/office/drawing/2014/main" id="{FA2651EF-9356-4C32-9730-8BBE17E999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78552" y="3913233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15DEF1BC-2534-4423-8A8E-D795263E96E4}"/>
                </a:ext>
              </a:extLst>
            </p:cNvPr>
            <p:cNvGrpSpPr/>
            <p:nvPr/>
          </p:nvGrpSpPr>
          <p:grpSpPr>
            <a:xfrm>
              <a:off x="2237799" y="3472655"/>
              <a:ext cx="1490662" cy="1370857"/>
              <a:chOff x="2237799" y="3472655"/>
              <a:chExt cx="1490662" cy="1370857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DECF4D1D-B803-4091-930B-2F37455CBD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37799" y="4192935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7" name="Picture 116">
                <a:extLst>
                  <a:ext uri="{FF2B5EF4-FFF2-40B4-BE49-F238E27FC236}">
                    <a16:creationId xmlns:a16="http://schemas.microsoft.com/office/drawing/2014/main" id="{0E7DBC2A-2A94-4986-AC03-B711AAEFAD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18830" y="4273749"/>
                <a:ext cx="322029" cy="324000"/>
              </a:xfrm>
              <a:prstGeom prst="rect">
                <a:avLst/>
              </a:prstGeom>
            </p:spPr>
          </p:pic>
          <p:pic>
            <p:nvPicPr>
              <p:cNvPr id="100" name="Picture 99">
                <a:extLst>
                  <a:ext uri="{FF2B5EF4-FFF2-40B4-BE49-F238E27FC236}">
                    <a16:creationId xmlns:a16="http://schemas.microsoft.com/office/drawing/2014/main" id="{A3842E80-DC59-7146-9CE5-1935A75651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42160" y="3472655"/>
                <a:ext cx="486301" cy="650577"/>
              </a:xfrm>
              <a:prstGeom prst="rect">
                <a:avLst/>
              </a:prstGeom>
            </p:spPr>
          </p:pic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02A1D067-5A0F-4A79-AA36-C9BD813DDCBA}"/>
                </a:ext>
              </a:extLst>
            </p:cNvPr>
            <p:cNvGrpSpPr/>
            <p:nvPr/>
          </p:nvGrpSpPr>
          <p:grpSpPr>
            <a:xfrm>
              <a:off x="5915449" y="2981610"/>
              <a:ext cx="486301" cy="650577"/>
              <a:chOff x="7271821" y="1279316"/>
              <a:chExt cx="486301" cy="650577"/>
            </a:xfrm>
          </p:grpSpPr>
          <p:pic>
            <p:nvPicPr>
              <p:cNvPr id="141" name="Picture 140">
                <a:extLst>
                  <a:ext uri="{FF2B5EF4-FFF2-40B4-BE49-F238E27FC236}">
                    <a16:creationId xmlns:a16="http://schemas.microsoft.com/office/drawing/2014/main" id="{37CE4EAF-DA99-477E-9A4A-7C29085B20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71821" y="1279316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5099A4E3-3E1F-46B9-AA7D-ED020D8769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52051" y="1358561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B5943C12-818B-4651-8978-B47B250E88BA}"/>
                </a:ext>
              </a:extLst>
            </p:cNvPr>
            <p:cNvGrpSpPr/>
            <p:nvPr/>
          </p:nvGrpSpPr>
          <p:grpSpPr>
            <a:xfrm>
              <a:off x="3381251" y="4483262"/>
              <a:ext cx="486301" cy="650577"/>
              <a:chOff x="3381251" y="4483262"/>
              <a:chExt cx="486301" cy="650577"/>
            </a:xfrm>
          </p:grpSpPr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29EDF1F8-6B9D-45E3-B7D5-B0D4104FCA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81251" y="4483262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5" name="Picture 114">
                <a:extLst>
                  <a:ext uri="{FF2B5EF4-FFF2-40B4-BE49-F238E27FC236}">
                    <a16:creationId xmlns:a16="http://schemas.microsoft.com/office/drawing/2014/main" id="{F70F5877-B204-4517-AED7-17DD293B97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61346" y="4563416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05AD2A34-C45F-490C-A027-588F2129602E}"/>
                </a:ext>
              </a:extLst>
            </p:cNvPr>
            <p:cNvGrpSpPr/>
            <p:nvPr/>
          </p:nvGrpSpPr>
          <p:grpSpPr>
            <a:xfrm>
              <a:off x="5680385" y="3196275"/>
              <a:ext cx="486301" cy="650577"/>
              <a:chOff x="5658681" y="3248602"/>
              <a:chExt cx="486301" cy="650577"/>
            </a:xfrm>
          </p:grpSpPr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F90339D9-59A5-4678-810A-CC4CBA1284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58681" y="3248602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01799036-CD58-4010-8655-B2601FEB07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38911" y="3328324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CF896E1A-0971-4049-A271-37CE17FC824E}"/>
                </a:ext>
              </a:extLst>
            </p:cNvPr>
            <p:cNvGrpSpPr/>
            <p:nvPr/>
          </p:nvGrpSpPr>
          <p:grpSpPr>
            <a:xfrm>
              <a:off x="5359767" y="3432757"/>
              <a:ext cx="486301" cy="650577"/>
              <a:chOff x="6584694" y="1279316"/>
              <a:chExt cx="486301" cy="650577"/>
            </a:xfrm>
          </p:grpSpPr>
          <p:pic>
            <p:nvPicPr>
              <p:cNvPr id="140" name="Picture 139">
                <a:extLst>
                  <a:ext uri="{FF2B5EF4-FFF2-40B4-BE49-F238E27FC236}">
                    <a16:creationId xmlns:a16="http://schemas.microsoft.com/office/drawing/2014/main" id="{CAB6D971-49E3-479F-852A-4BED102765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84694" y="1279316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6" name="Picture 115">
                <a:extLst>
                  <a:ext uri="{FF2B5EF4-FFF2-40B4-BE49-F238E27FC236}">
                    <a16:creationId xmlns:a16="http://schemas.microsoft.com/office/drawing/2014/main" id="{46368849-510C-4DAD-8E6A-DB9F8DCFB4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65755" y="1360466"/>
                <a:ext cx="322029" cy="324000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7916" y="503217"/>
            <a:ext cx="10242089" cy="495810"/>
          </a:xfrm>
        </p:spPr>
        <p:txBody>
          <a:bodyPr anchor="ctr">
            <a:noAutofit/>
          </a:bodyPr>
          <a:lstStyle/>
          <a:p>
            <a:r>
              <a:rPr lang="en-US" sz="3200" dirty="0"/>
              <a:t>MMA is the Global Industry Association for Marketing</a:t>
            </a:r>
            <a:endParaRPr lang="en-US" sz="3200" b="0" dirty="0">
              <a:solidFill>
                <a:srgbClr val="0072BA"/>
              </a:solidFill>
              <a:latin typeface="+mn-lt"/>
              <a:cs typeface="Gotham Bold" pitchFamily="50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88DE645-5C2C-451F-A6F5-4FC34C714720}"/>
              </a:ext>
            </a:extLst>
          </p:cNvPr>
          <p:cNvGrpSpPr/>
          <p:nvPr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33710A3B-8B79-4016-B580-F1AAE2380338}"/>
                </a:ext>
              </a:extLst>
            </p:cNvPr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B2B83E00-47B2-4E8B-A755-4F8D3A5FA014}"/>
                </a:ext>
              </a:extLst>
            </p:cNvPr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7619BA6-D01D-4CDF-9626-6EF453B032BA}"/>
                </a:ext>
              </a:extLst>
            </p:cNvPr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882D30E3-D5F0-4421-A723-5F9EB346E3FE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7504" y="6228307"/>
            <a:ext cx="1466491" cy="446456"/>
          </a:xfrm>
          <a:prstGeom prst="rect">
            <a:avLst/>
          </a:prstGeom>
        </p:spPr>
      </p:pic>
      <p:grpSp>
        <p:nvGrpSpPr>
          <p:cNvPr id="231" name="Group 230">
            <a:extLst>
              <a:ext uri="{FF2B5EF4-FFF2-40B4-BE49-F238E27FC236}">
                <a16:creationId xmlns:a16="http://schemas.microsoft.com/office/drawing/2014/main" id="{18EE5E96-CFB4-4DB7-BA9E-E534F7BCE52D}"/>
              </a:ext>
            </a:extLst>
          </p:cNvPr>
          <p:cNvGrpSpPr/>
          <p:nvPr/>
        </p:nvGrpSpPr>
        <p:grpSpPr>
          <a:xfrm>
            <a:off x="7877379" y="2526888"/>
            <a:ext cx="2728032" cy="937384"/>
            <a:chOff x="242996" y="1174440"/>
            <a:chExt cx="2728032" cy="937384"/>
          </a:xfrm>
        </p:grpSpPr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F2229CEA-5724-4064-9818-FEE9ADACBC12}"/>
                </a:ext>
              </a:extLst>
            </p:cNvPr>
            <p:cNvSpPr/>
            <p:nvPr/>
          </p:nvSpPr>
          <p:spPr>
            <a:xfrm>
              <a:off x="1109493" y="1292535"/>
              <a:ext cx="1861535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400" b="1" dirty="0">
                  <a:solidFill>
                    <a:srgbClr val="F37021"/>
                  </a:solidFill>
                  <a:cs typeface="Gotham Bold" pitchFamily="50" charset="0"/>
                </a:rPr>
                <a:t>CHRIS BABAYODE</a:t>
              </a:r>
            </a:p>
            <a:p>
              <a:pPr lvl="0">
                <a:defRPr/>
              </a:pPr>
              <a:r>
                <a:rPr lang="en-US" sz="1400" dirty="0">
                  <a:solidFill>
                    <a:schemeClr val="tx1">
                      <a:lumMod val="75000"/>
                    </a:schemeClr>
                  </a:solidFill>
                  <a:cs typeface="Gotham-BookItalic" pitchFamily="50" charset="0"/>
                </a:rPr>
                <a:t>chris@mmaglobal.com</a:t>
              </a:r>
            </a:p>
            <a:p>
              <a:pPr lvl="0">
                <a:defRPr/>
              </a:pPr>
              <a:r>
                <a:rPr lang="en-US" sz="1400" dirty="0">
                  <a:solidFill>
                    <a:srgbClr val="0072BA"/>
                  </a:solidFill>
                  <a:cs typeface="Gotham-BookItalic" pitchFamily="50" charset="0"/>
                </a:rPr>
                <a:t>EMEA</a:t>
              </a:r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8221E115-FCAD-4576-9260-329EA62B0842}"/>
                </a:ext>
              </a:extLst>
            </p:cNvPr>
            <p:cNvGrpSpPr/>
            <p:nvPr/>
          </p:nvGrpSpPr>
          <p:grpSpPr>
            <a:xfrm>
              <a:off x="242996" y="1174440"/>
              <a:ext cx="937384" cy="937384"/>
              <a:chOff x="-2054410" y="1434823"/>
              <a:chExt cx="937384" cy="937384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161D77E-C4B9-48AC-8351-72E41B5F40E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1908183" y="1602915"/>
                <a:ext cx="601200" cy="601200"/>
              </a:xfrm>
              <a:prstGeom prst="ellipse">
                <a:avLst/>
              </a:prstGeom>
              <a:blipFill>
                <a:blip r:embed="rId20" cstate="email">
                  <a:extLst>
                    <a:ext uri="{BEBA8EAE-BF5A-486C-A8C5-ECC9F3942E4B}">
                      <a14:imgProps xmlns:a14="http://schemas.microsoft.com/office/drawing/2010/main">
                        <a14:imgLayer r:embed="rId21">
                          <a14:imgEffect>
                            <a14:colorTemperature colorTemp="72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pic>
            <p:nvPicPr>
              <p:cNvPr id="194" name="Picture 193">
                <a:extLst>
                  <a:ext uri="{FF2B5EF4-FFF2-40B4-BE49-F238E27FC236}">
                    <a16:creationId xmlns:a16="http://schemas.microsoft.com/office/drawing/2014/main" id="{D4C3F69E-69BA-4385-AF1D-99DACAA34B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054410" y="1434823"/>
                <a:ext cx="937384" cy="937384"/>
              </a:xfrm>
              <a:prstGeom prst="rect">
                <a:avLst/>
              </a:prstGeom>
            </p:spPr>
          </p:pic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81685050-A364-43C3-BDE0-FF43156684D7}"/>
              </a:ext>
            </a:extLst>
          </p:cNvPr>
          <p:cNvGrpSpPr/>
          <p:nvPr/>
        </p:nvGrpSpPr>
        <p:grpSpPr>
          <a:xfrm>
            <a:off x="8176030" y="5530235"/>
            <a:ext cx="3309858" cy="937384"/>
            <a:chOff x="3101551" y="1174440"/>
            <a:chExt cx="3309858" cy="937384"/>
          </a:xfrm>
        </p:grpSpPr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B9F1EBD4-DC69-4FA1-BE85-B4FC5DF9F4F2}"/>
                </a:ext>
              </a:extLst>
            </p:cNvPr>
            <p:cNvSpPr/>
            <p:nvPr/>
          </p:nvSpPr>
          <p:spPr>
            <a:xfrm>
              <a:off x="3968048" y="1292535"/>
              <a:ext cx="2443361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400" b="1" dirty="0">
                  <a:solidFill>
                    <a:srgbClr val="F37021"/>
                  </a:solidFill>
                  <a:cs typeface="Gotham Bold" pitchFamily="50" charset="0"/>
                </a:rPr>
                <a:t>ROHIT DADWAL</a:t>
              </a:r>
            </a:p>
            <a:p>
              <a:pPr lvl="0">
                <a:defRPr/>
              </a:pPr>
              <a:r>
                <a:rPr lang="en-US" sz="1400" dirty="0">
                  <a:solidFill>
                    <a:schemeClr val="tx1">
                      <a:lumMod val="75000"/>
                    </a:schemeClr>
                  </a:solidFill>
                  <a:cs typeface="Gotham-BookItalic" pitchFamily="50" charset="0"/>
                </a:rPr>
                <a:t>rohit.dadwal@mmaglobal.com</a:t>
              </a:r>
            </a:p>
            <a:p>
              <a:pPr lvl="0">
                <a:defRPr/>
              </a:pPr>
              <a:r>
                <a:rPr lang="en-US" sz="1400" dirty="0">
                  <a:solidFill>
                    <a:srgbClr val="0072BA"/>
                  </a:solidFill>
                  <a:cs typeface="Gotham-BookItalic" pitchFamily="50" charset="0"/>
                </a:rPr>
                <a:t>APAC</a:t>
              </a:r>
            </a:p>
          </p:txBody>
        </p: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4AC445FD-048C-4227-9937-FCA60EAFD8BA}"/>
                </a:ext>
              </a:extLst>
            </p:cNvPr>
            <p:cNvGrpSpPr/>
            <p:nvPr/>
          </p:nvGrpSpPr>
          <p:grpSpPr>
            <a:xfrm>
              <a:off x="3101551" y="1174440"/>
              <a:ext cx="937384" cy="937384"/>
              <a:chOff x="-1498292" y="2291563"/>
              <a:chExt cx="937384" cy="937384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0D0A7E-9212-4A0E-B160-A3AA705FE99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1347773" y="2441128"/>
                <a:ext cx="601200" cy="601200"/>
              </a:xfrm>
              <a:prstGeom prst="ellipse">
                <a:avLst/>
              </a:prstGeom>
              <a:blipFill>
                <a:blip r:embed="rId2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pic>
            <p:nvPicPr>
              <p:cNvPr id="214" name="Picture 213">
                <a:extLst>
                  <a:ext uri="{FF2B5EF4-FFF2-40B4-BE49-F238E27FC236}">
                    <a16:creationId xmlns:a16="http://schemas.microsoft.com/office/drawing/2014/main" id="{FF33B6B8-F4FC-429C-A767-653863DCC4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498292" y="2291563"/>
                <a:ext cx="937384" cy="937384"/>
              </a:xfrm>
              <a:prstGeom prst="rect">
                <a:avLst/>
              </a:prstGeom>
            </p:spPr>
          </p:pic>
        </p:grpSp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3DF145E6-78AD-47DE-83AB-E5875EDE5AA8}"/>
              </a:ext>
            </a:extLst>
          </p:cNvPr>
          <p:cNvGrpSpPr/>
          <p:nvPr/>
        </p:nvGrpSpPr>
        <p:grpSpPr>
          <a:xfrm>
            <a:off x="178561" y="5941948"/>
            <a:ext cx="3303190" cy="937384"/>
            <a:chOff x="5960106" y="1174440"/>
            <a:chExt cx="3303190" cy="937384"/>
          </a:xfrm>
        </p:grpSpPr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8E24E490-44B1-4E96-A36B-353FF036801B}"/>
                </a:ext>
              </a:extLst>
            </p:cNvPr>
            <p:cNvSpPr/>
            <p:nvPr/>
          </p:nvSpPr>
          <p:spPr>
            <a:xfrm>
              <a:off x="6826603" y="1292535"/>
              <a:ext cx="2436693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400" b="1" dirty="0">
                  <a:solidFill>
                    <a:srgbClr val="F37021"/>
                  </a:solidFill>
                  <a:cs typeface="Gotham Bold" pitchFamily="50" charset="0"/>
                </a:rPr>
                <a:t>FABIANO LOBO</a:t>
              </a:r>
            </a:p>
            <a:p>
              <a:pPr lvl="0">
                <a:defRPr/>
              </a:pPr>
              <a:r>
                <a:rPr lang="en-US" sz="1400" dirty="0">
                  <a:solidFill>
                    <a:schemeClr val="tx1">
                      <a:lumMod val="75000"/>
                    </a:schemeClr>
                  </a:solidFill>
                  <a:cs typeface="Gotham-BookItalic" pitchFamily="50" charset="0"/>
                </a:rPr>
                <a:t>fabiano.lobo@mmaglobal.com</a:t>
              </a:r>
            </a:p>
            <a:p>
              <a:pPr lvl="0">
                <a:defRPr/>
              </a:pPr>
              <a:r>
                <a:rPr lang="en-US" sz="1400" dirty="0">
                  <a:solidFill>
                    <a:srgbClr val="0072BA"/>
                  </a:solidFill>
                  <a:cs typeface="Gotham-BookItalic" pitchFamily="50" charset="0"/>
                </a:rPr>
                <a:t>LATAM</a:t>
              </a:r>
            </a:p>
          </p:txBody>
        </p: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7B1DC8D3-F581-484F-BA40-944997134170}"/>
                </a:ext>
              </a:extLst>
            </p:cNvPr>
            <p:cNvGrpSpPr/>
            <p:nvPr/>
          </p:nvGrpSpPr>
          <p:grpSpPr>
            <a:xfrm>
              <a:off x="5960106" y="1174440"/>
              <a:ext cx="937384" cy="937384"/>
              <a:chOff x="-1498292" y="3403843"/>
              <a:chExt cx="937384" cy="937384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7E6629C3-1A2E-4A60-9CED-A938357C18A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1347773" y="3554511"/>
                <a:ext cx="601200" cy="601200"/>
              </a:xfrm>
              <a:prstGeom prst="ellipse">
                <a:avLst/>
              </a:prstGeom>
              <a:blipFill>
                <a:blip r:embed="rId2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pic>
            <p:nvPicPr>
              <p:cNvPr id="215" name="Picture 214">
                <a:extLst>
                  <a:ext uri="{FF2B5EF4-FFF2-40B4-BE49-F238E27FC236}">
                    <a16:creationId xmlns:a16="http://schemas.microsoft.com/office/drawing/2014/main" id="{40EA1B45-6B08-43E4-B0E6-942CFE148D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498292" y="3403843"/>
                <a:ext cx="937384" cy="937384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4AC0C07-D2FC-4189-B320-59F219462B92}"/>
              </a:ext>
            </a:extLst>
          </p:cNvPr>
          <p:cNvGrpSpPr/>
          <p:nvPr/>
        </p:nvGrpSpPr>
        <p:grpSpPr>
          <a:xfrm>
            <a:off x="218243" y="2953692"/>
            <a:ext cx="1649653" cy="2995599"/>
            <a:chOff x="-4277523" y="-1036049"/>
            <a:chExt cx="1649653" cy="2995599"/>
          </a:xfrm>
        </p:grpSpPr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858669A8-7C8F-4535-81C4-FFD09DE195A5}"/>
                </a:ext>
              </a:extLst>
            </p:cNvPr>
            <p:cNvSpPr/>
            <p:nvPr/>
          </p:nvSpPr>
          <p:spPr>
            <a:xfrm>
              <a:off x="-4277523" y="-1036049"/>
              <a:ext cx="6855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600" b="1" dirty="0">
                  <a:solidFill>
                    <a:srgbClr val="0072BA"/>
                  </a:solidFill>
                  <a:cs typeface="Gotham Bold" pitchFamily="50" charset="0"/>
                </a:rPr>
                <a:t>EMEA</a:t>
              </a:r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F5669D3A-3A85-437A-A44E-E68D2B6A7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-712378"/>
              <a:ext cx="322029" cy="324000"/>
            </a:xfrm>
            <a:prstGeom prst="rect">
              <a:avLst/>
            </a:prstGeom>
          </p:spPr>
        </p:pic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5E6AF224-B317-46E6-91E4-187C35D98746}"/>
                </a:ext>
              </a:extLst>
            </p:cNvPr>
            <p:cNvSpPr/>
            <p:nvPr/>
          </p:nvSpPr>
          <p:spPr>
            <a:xfrm>
              <a:off x="-3805838" y="-674330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France</a:t>
              </a:r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D735F586-C7A2-4955-940F-D9B555573969}"/>
                </a:ext>
              </a:extLst>
            </p:cNvPr>
            <p:cNvSpPr/>
            <p:nvPr/>
          </p:nvSpPr>
          <p:spPr>
            <a:xfrm>
              <a:off x="-3805838" y="-283009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Germany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A2B378C4-23C5-4A61-B833-185DE2815749}"/>
                </a:ext>
              </a:extLst>
            </p:cNvPr>
            <p:cNvSpPr/>
            <p:nvPr/>
          </p:nvSpPr>
          <p:spPr>
            <a:xfrm>
              <a:off x="-3805838" y="108312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Middle East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6351CA5A-008A-49B8-9646-87172EAF7586}"/>
                </a:ext>
              </a:extLst>
            </p:cNvPr>
            <p:cNvSpPr/>
            <p:nvPr/>
          </p:nvSpPr>
          <p:spPr>
            <a:xfrm>
              <a:off x="-3805838" y="499633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South Africa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F7DCB40E-28B5-4D2B-98B8-6B26078D804B}"/>
                </a:ext>
              </a:extLst>
            </p:cNvPr>
            <p:cNvSpPr/>
            <p:nvPr/>
          </p:nvSpPr>
          <p:spPr>
            <a:xfrm>
              <a:off x="-3805838" y="890954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Spain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3BB4EA0C-74D5-4A46-B390-7F5ED5B2AB77}"/>
                </a:ext>
              </a:extLst>
            </p:cNvPr>
            <p:cNvSpPr/>
            <p:nvPr/>
          </p:nvSpPr>
          <p:spPr>
            <a:xfrm>
              <a:off x="-3805838" y="1282275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Turkey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30162789-159B-4961-871E-98B3302297D6}"/>
                </a:ext>
              </a:extLst>
            </p:cNvPr>
            <p:cNvSpPr/>
            <p:nvPr/>
          </p:nvSpPr>
          <p:spPr>
            <a:xfrm>
              <a:off x="-3805838" y="1673598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United Kingdom</a:t>
              </a:r>
            </a:p>
          </p:txBody>
        </p:sp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07ACE510-9302-4DB2-9EEA-6EEEC9B8F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-321057"/>
              <a:ext cx="322029" cy="324000"/>
            </a:xfrm>
            <a:prstGeom prst="rect">
              <a:avLst/>
            </a:prstGeom>
          </p:spPr>
        </p:pic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A1838218-5531-4B30-8468-CBD342475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461585"/>
              <a:ext cx="322029" cy="324000"/>
            </a:xfrm>
            <a:prstGeom prst="rect">
              <a:avLst/>
            </a:prstGeom>
          </p:spPr>
        </p:pic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DFAEF5DC-7272-4E68-8765-B535B2473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1244227"/>
              <a:ext cx="322029" cy="324000"/>
            </a:xfrm>
            <a:prstGeom prst="rect">
              <a:avLst/>
            </a:prstGeom>
          </p:spPr>
        </p:pic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EF5FF066-A3C9-4471-B58F-B773D39842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70264"/>
              <a:ext cx="322029" cy="324000"/>
            </a:xfrm>
            <a:prstGeom prst="rect">
              <a:avLst/>
            </a:prstGeom>
          </p:spPr>
        </p:pic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DD8BA046-2548-450D-B74D-6E537030C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852906"/>
              <a:ext cx="322029" cy="324000"/>
            </a:xfrm>
            <a:prstGeom prst="rect">
              <a:avLst/>
            </a:prstGeom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28FCEBE1-1FF7-4266-B58C-193A8882B7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1635550"/>
              <a:ext cx="322029" cy="32400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6A0BA78-CA95-4890-8985-FFDA0939D7C7}"/>
              </a:ext>
            </a:extLst>
          </p:cNvPr>
          <p:cNvGrpSpPr/>
          <p:nvPr/>
        </p:nvGrpSpPr>
        <p:grpSpPr>
          <a:xfrm>
            <a:off x="10516299" y="2553992"/>
            <a:ext cx="1390722" cy="3365945"/>
            <a:chOff x="10459854" y="2553992"/>
            <a:chExt cx="1390722" cy="3365945"/>
          </a:xfrm>
        </p:grpSpPr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21DE254C-EBEE-4E5E-94CF-40FFF2871F32}"/>
                </a:ext>
              </a:extLst>
            </p:cNvPr>
            <p:cNvSpPr/>
            <p:nvPr/>
          </p:nvSpPr>
          <p:spPr>
            <a:xfrm>
              <a:off x="10459854" y="2553992"/>
              <a:ext cx="76963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600" b="1" dirty="0">
                  <a:solidFill>
                    <a:srgbClr val="0072BA"/>
                  </a:solidFill>
                  <a:cs typeface="Gotham Bold" pitchFamily="50" charset="0"/>
                </a:rPr>
                <a:t>LATAM</a:t>
              </a:r>
            </a:p>
          </p:txBody>
        </p:sp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id="{1FE2A465-AF2C-4F1C-8078-05FC5BB09C9B}"/>
                </a:ext>
              </a:extLst>
            </p:cNvPr>
            <p:cNvSpPr/>
            <p:nvPr/>
          </p:nvSpPr>
          <p:spPr>
            <a:xfrm>
              <a:off x="10941699" y="2915711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Mexico</a:t>
              </a:r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8E8932C0-92D3-49CC-AE01-E15D691929BE}"/>
                </a:ext>
              </a:extLst>
            </p:cNvPr>
            <p:cNvSpPr/>
            <p:nvPr/>
          </p:nvSpPr>
          <p:spPr>
            <a:xfrm>
              <a:off x="10941699" y="3307032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Brazil</a:t>
              </a:r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2D81C2E3-1B8F-437C-B57B-797D490086FF}"/>
                </a:ext>
              </a:extLst>
            </p:cNvPr>
            <p:cNvSpPr/>
            <p:nvPr/>
          </p:nvSpPr>
          <p:spPr>
            <a:xfrm>
              <a:off x="10941699" y="3698353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Colombia</a:t>
              </a:r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3349EF04-1608-449C-9327-2257F698695D}"/>
                </a:ext>
              </a:extLst>
            </p:cNvPr>
            <p:cNvSpPr/>
            <p:nvPr/>
          </p:nvSpPr>
          <p:spPr>
            <a:xfrm>
              <a:off x="10941699" y="4089674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Argentina</a:t>
              </a: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4BB09C9D-0AC1-4B98-9925-F2888808A831}"/>
                </a:ext>
              </a:extLst>
            </p:cNvPr>
            <p:cNvSpPr/>
            <p:nvPr/>
          </p:nvSpPr>
          <p:spPr>
            <a:xfrm>
              <a:off x="10459854" y="4489624"/>
              <a:ext cx="63639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600" b="1" dirty="0">
                  <a:solidFill>
                    <a:srgbClr val="0072BA"/>
                  </a:solidFill>
                  <a:cs typeface="Gotham Bold" pitchFamily="50" charset="0"/>
                </a:rPr>
                <a:t>APAC</a:t>
              </a:r>
            </a:p>
          </p:txBody>
        </p:sp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6759408A-FFA0-499B-A3BE-FA05A9184CEF}"/>
                </a:ext>
              </a:extLst>
            </p:cNvPr>
            <p:cNvSpPr/>
            <p:nvPr/>
          </p:nvSpPr>
          <p:spPr>
            <a:xfrm>
              <a:off x="10941699" y="4851343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China</a:t>
              </a:r>
            </a:p>
          </p:txBody>
        </p: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6136DDA0-148E-428A-9A0A-E2C6145E7BA6}"/>
                </a:ext>
              </a:extLst>
            </p:cNvPr>
            <p:cNvSpPr/>
            <p:nvPr/>
          </p:nvSpPr>
          <p:spPr>
            <a:xfrm>
              <a:off x="10941699" y="5242664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Vietnam</a:t>
              </a: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B3CF641F-E8EE-4A0E-BC24-3B112D418C3E}"/>
                </a:ext>
              </a:extLst>
            </p:cNvPr>
            <p:cNvSpPr/>
            <p:nvPr/>
          </p:nvSpPr>
          <p:spPr>
            <a:xfrm>
              <a:off x="10941699" y="5633985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India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C01FDBAB-0108-41D6-8AA1-AE0C283CF8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4051626"/>
              <a:ext cx="322029" cy="324000"/>
            </a:xfrm>
            <a:prstGeom prst="rect">
              <a:avLst/>
            </a:prstGeom>
          </p:spPr>
        </p:pic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7D0671A1-DBDF-45F6-AFA7-C8B93ED81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3268984"/>
              <a:ext cx="322029" cy="324000"/>
            </a:xfrm>
            <a:prstGeom prst="rect">
              <a:avLst/>
            </a:prstGeom>
          </p:spPr>
        </p:pic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DC7D2AB7-E7A1-4B9A-85CA-15CE2B755A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4813295"/>
              <a:ext cx="322029" cy="324000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5B2E2A0C-00B7-45FC-9953-F9EF8556C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5204616"/>
              <a:ext cx="322029" cy="324000"/>
            </a:xfrm>
            <a:prstGeom prst="rect">
              <a:avLst/>
            </a:prstGeom>
          </p:spPr>
        </p:pic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CA10E0F1-3E1F-457B-9D55-79F0787883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3660305"/>
              <a:ext cx="322029" cy="324000"/>
            </a:xfrm>
            <a:prstGeom prst="rect">
              <a:avLst/>
            </a:prstGeom>
          </p:spPr>
        </p:pic>
        <p:pic>
          <p:nvPicPr>
            <p:cNvPr id="133" name="Picture 132">
              <a:extLst>
                <a:ext uri="{FF2B5EF4-FFF2-40B4-BE49-F238E27FC236}">
                  <a16:creationId xmlns:a16="http://schemas.microsoft.com/office/drawing/2014/main" id="{7068232D-8C1F-411B-AEA6-D9317E351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2877663"/>
              <a:ext cx="322029" cy="324000"/>
            </a:xfrm>
            <a:prstGeom prst="rect">
              <a:avLst/>
            </a:prstGeom>
          </p:spPr>
        </p:pic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36D3DE03-A186-46F3-8885-DD4E8FE80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5595937"/>
              <a:ext cx="322029" cy="324000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64DFF625-F3DE-2141-87FE-5A170776D5B9}"/>
              </a:ext>
            </a:extLst>
          </p:cNvPr>
          <p:cNvSpPr txBox="1"/>
          <p:nvPr/>
        </p:nvSpPr>
        <p:spPr>
          <a:xfrm>
            <a:off x="3376576" y="4047200"/>
            <a:ext cx="560172" cy="39258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>
              <a:spcBef>
                <a:spcPts val="587"/>
              </a:spcBef>
              <a:buSzPct val="100000"/>
            </a:pPr>
            <a:r>
              <a:rPr lang="en-US" sz="1600" dirty="0">
                <a:solidFill>
                  <a:schemeClr val="bg2">
                    <a:lumMod val="75000"/>
                  </a:schemeClr>
                </a:solidFill>
              </a:rPr>
              <a:t>HQ</a:t>
            </a:r>
          </a:p>
        </p:txBody>
      </p:sp>
      <p:sp>
        <p:nvSpPr>
          <p:cNvPr id="162" name="Rectangle: Rounded Corners 791">
            <a:extLst>
              <a:ext uri="{FF2B5EF4-FFF2-40B4-BE49-F238E27FC236}">
                <a16:creationId xmlns:a16="http://schemas.microsoft.com/office/drawing/2014/main" id="{29226656-4616-634B-B89D-0D81C36482AF}"/>
              </a:ext>
            </a:extLst>
          </p:cNvPr>
          <p:cNvSpPr/>
          <p:nvPr/>
        </p:nvSpPr>
        <p:spPr>
          <a:xfrm>
            <a:off x="1229072" y="1692386"/>
            <a:ext cx="1501226" cy="724394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Started in 2003; turned around in 2013</a:t>
            </a:r>
          </a:p>
        </p:txBody>
      </p:sp>
      <p:sp>
        <p:nvSpPr>
          <p:cNvPr id="160" name="Rectangle: Rounded Corners 809">
            <a:extLst>
              <a:ext uri="{FF2B5EF4-FFF2-40B4-BE49-F238E27FC236}">
                <a16:creationId xmlns:a16="http://schemas.microsoft.com/office/drawing/2014/main" id="{32E8EC42-D5AE-DD4C-AD4D-C7559329C82E}"/>
              </a:ext>
            </a:extLst>
          </p:cNvPr>
          <p:cNvSpPr/>
          <p:nvPr/>
        </p:nvSpPr>
        <p:spPr>
          <a:xfrm>
            <a:off x="4956172" y="1695268"/>
            <a:ext cx="1501226" cy="724394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Marketer led; plus media sellers, tech and agencies</a:t>
            </a:r>
          </a:p>
        </p:txBody>
      </p:sp>
      <p:sp>
        <p:nvSpPr>
          <p:cNvPr id="158" name="Rectangle: Rounded Corners 815">
            <a:extLst>
              <a:ext uri="{FF2B5EF4-FFF2-40B4-BE49-F238E27FC236}">
                <a16:creationId xmlns:a16="http://schemas.microsoft.com/office/drawing/2014/main" id="{733B41CD-0C0E-BD45-A5AC-09C8524E515B}"/>
              </a:ext>
            </a:extLst>
          </p:cNvPr>
          <p:cNvSpPr/>
          <p:nvPr/>
        </p:nvSpPr>
        <p:spPr>
          <a:xfrm>
            <a:off x="6766305" y="1700527"/>
            <a:ext cx="1501226" cy="724397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55+ team worldwide</a:t>
            </a:r>
          </a:p>
        </p:txBody>
      </p:sp>
      <p:sp>
        <p:nvSpPr>
          <p:cNvPr id="156" name="Rectangle: Rounded Corners 818">
            <a:extLst>
              <a:ext uri="{FF2B5EF4-FFF2-40B4-BE49-F238E27FC236}">
                <a16:creationId xmlns:a16="http://schemas.microsoft.com/office/drawing/2014/main" id="{24F89BAF-57D0-DE4C-9209-9B6408EFDB01}"/>
              </a:ext>
            </a:extLst>
          </p:cNvPr>
          <p:cNvSpPr/>
          <p:nvPr/>
        </p:nvSpPr>
        <p:spPr>
          <a:xfrm>
            <a:off x="3075084" y="1692383"/>
            <a:ext cx="1501226" cy="724397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Operations in 15 countries</a:t>
            </a:r>
          </a:p>
        </p:txBody>
      </p:sp>
      <p:sp>
        <p:nvSpPr>
          <p:cNvPr id="138" name="Rectangle: Rounded Corners 821">
            <a:extLst>
              <a:ext uri="{FF2B5EF4-FFF2-40B4-BE49-F238E27FC236}">
                <a16:creationId xmlns:a16="http://schemas.microsoft.com/office/drawing/2014/main" id="{EFE28736-07EC-0741-97BF-D36482248B8B}"/>
              </a:ext>
            </a:extLst>
          </p:cNvPr>
          <p:cNvSpPr/>
          <p:nvPr/>
        </p:nvSpPr>
        <p:spPr>
          <a:xfrm>
            <a:off x="8690667" y="1700527"/>
            <a:ext cx="1501226" cy="724397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25+ conferences in 15 countri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3D71DE-C363-CD45-A12D-64C76FCBB806}"/>
              </a:ext>
            </a:extLst>
          </p:cNvPr>
          <p:cNvSpPr/>
          <p:nvPr/>
        </p:nvSpPr>
        <p:spPr>
          <a:xfrm>
            <a:off x="4636786" y="3244334"/>
            <a:ext cx="29184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/>
              <a:t>mdellapenna@inmarke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341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6BE3235-6819-4306-91E1-36BCF6062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0744" y="273828"/>
            <a:ext cx="10893251" cy="887949"/>
          </a:xfrm>
        </p:spPr>
        <p:txBody>
          <a:bodyPr>
            <a:normAutofit fontScale="90000"/>
          </a:bodyPr>
          <a:lstStyle/>
          <a:p>
            <a:r>
              <a:rPr lang="en-GB" dirty="0"/>
              <a:t>MMA Is 800+ Members Strong</a:t>
            </a:r>
            <a:br>
              <a:rPr lang="en-GB" dirty="0"/>
            </a:br>
            <a:r>
              <a:rPr lang="en-GB" sz="2000" dirty="0"/>
              <a:t>MARKETERS, AGENCIES, MEDIA SELLERS, TECHNOLOGY &amp; SOLUTION PROVIDER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CD5B8-54B2-432B-ABD7-94508B178054}"/>
              </a:ext>
            </a:extLst>
          </p:cNvPr>
          <p:cNvSpPr/>
          <p:nvPr/>
        </p:nvSpPr>
        <p:spPr>
          <a:xfrm>
            <a:off x="719990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9605DD3-AC5D-4EFC-A538-C11BB208FB06}"/>
              </a:ext>
            </a:extLst>
          </p:cNvPr>
          <p:cNvSpPr/>
          <p:nvPr/>
        </p:nvSpPr>
        <p:spPr>
          <a:xfrm>
            <a:off x="10471601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8CBDE4-1240-4599-949A-DA55B0A1FA41}"/>
              </a:ext>
            </a:extLst>
          </p:cNvPr>
          <p:cNvSpPr/>
          <p:nvPr/>
        </p:nvSpPr>
        <p:spPr>
          <a:xfrm>
            <a:off x="1938942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45BA25-B592-4BB2-A118-A80D25A7D0CB}"/>
              </a:ext>
            </a:extLst>
          </p:cNvPr>
          <p:cNvSpPr/>
          <p:nvPr/>
        </p:nvSpPr>
        <p:spPr>
          <a:xfrm>
            <a:off x="3157893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9F977C-EFE9-4FAE-B84C-B07A4A516F67}"/>
              </a:ext>
            </a:extLst>
          </p:cNvPr>
          <p:cNvSpPr/>
          <p:nvPr/>
        </p:nvSpPr>
        <p:spPr>
          <a:xfrm>
            <a:off x="4376843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59A5B-5444-4D95-9448-DC10304E4EC8}"/>
              </a:ext>
            </a:extLst>
          </p:cNvPr>
          <p:cNvSpPr/>
          <p:nvPr/>
        </p:nvSpPr>
        <p:spPr>
          <a:xfrm>
            <a:off x="5595794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58598E-B518-4F0E-A5AB-73E6492C186C}"/>
              </a:ext>
            </a:extLst>
          </p:cNvPr>
          <p:cNvSpPr/>
          <p:nvPr/>
        </p:nvSpPr>
        <p:spPr>
          <a:xfrm>
            <a:off x="6814746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B18B560-7FFA-465D-9DA9-F5DB96D988AE}"/>
              </a:ext>
            </a:extLst>
          </p:cNvPr>
          <p:cNvSpPr/>
          <p:nvPr/>
        </p:nvSpPr>
        <p:spPr>
          <a:xfrm>
            <a:off x="8033697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1C9130-DB46-45B0-9FB3-C177FAFEC80C}"/>
              </a:ext>
            </a:extLst>
          </p:cNvPr>
          <p:cNvSpPr/>
          <p:nvPr/>
        </p:nvSpPr>
        <p:spPr>
          <a:xfrm>
            <a:off x="9252647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708AD7D-8EF4-4D5C-BFD7-3EFDE877E09B}"/>
              </a:ext>
            </a:extLst>
          </p:cNvPr>
          <p:cNvSpPr/>
          <p:nvPr/>
        </p:nvSpPr>
        <p:spPr>
          <a:xfrm>
            <a:off x="719990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58EF6B0-0D02-448F-86A6-286D37287A50}"/>
              </a:ext>
            </a:extLst>
          </p:cNvPr>
          <p:cNvSpPr/>
          <p:nvPr/>
        </p:nvSpPr>
        <p:spPr>
          <a:xfrm>
            <a:off x="10471601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A9A291F-2CC5-4365-961E-47E4A0A1F387}"/>
              </a:ext>
            </a:extLst>
          </p:cNvPr>
          <p:cNvSpPr/>
          <p:nvPr/>
        </p:nvSpPr>
        <p:spPr>
          <a:xfrm>
            <a:off x="1938942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34E5451-D1B1-4588-9659-B42737F10604}"/>
              </a:ext>
            </a:extLst>
          </p:cNvPr>
          <p:cNvSpPr/>
          <p:nvPr/>
        </p:nvSpPr>
        <p:spPr>
          <a:xfrm>
            <a:off x="3157893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156233B-7AB2-45EF-8BE5-A08139CB5E82}"/>
              </a:ext>
            </a:extLst>
          </p:cNvPr>
          <p:cNvSpPr/>
          <p:nvPr/>
        </p:nvSpPr>
        <p:spPr>
          <a:xfrm>
            <a:off x="4376843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7AB53B3-A395-42BA-BB9E-EE3F12894425}"/>
              </a:ext>
            </a:extLst>
          </p:cNvPr>
          <p:cNvSpPr/>
          <p:nvPr/>
        </p:nvSpPr>
        <p:spPr>
          <a:xfrm>
            <a:off x="5595794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C41AB15-3E06-4DF4-92C2-F31D85849479}"/>
              </a:ext>
            </a:extLst>
          </p:cNvPr>
          <p:cNvSpPr/>
          <p:nvPr/>
        </p:nvSpPr>
        <p:spPr>
          <a:xfrm>
            <a:off x="6814746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CF3D7F6-42B5-4411-B3CF-A674F39D60E7}"/>
              </a:ext>
            </a:extLst>
          </p:cNvPr>
          <p:cNvSpPr/>
          <p:nvPr/>
        </p:nvSpPr>
        <p:spPr>
          <a:xfrm>
            <a:off x="8033697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CF7B197-CD48-47F7-BA23-073269CAF89F}"/>
              </a:ext>
            </a:extLst>
          </p:cNvPr>
          <p:cNvSpPr/>
          <p:nvPr/>
        </p:nvSpPr>
        <p:spPr>
          <a:xfrm>
            <a:off x="9252647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3605DC4-0924-4B38-B0F0-8841C6FB1975}"/>
              </a:ext>
            </a:extLst>
          </p:cNvPr>
          <p:cNvGrpSpPr/>
          <p:nvPr/>
        </p:nvGrpSpPr>
        <p:grpSpPr>
          <a:xfrm>
            <a:off x="719990" y="2500220"/>
            <a:ext cx="10923185" cy="574203"/>
            <a:chOff x="981005" y="1276349"/>
            <a:chExt cx="10923185" cy="612853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7ECF2A8-93E3-4528-A153-B3B371C50BC8}"/>
                </a:ext>
              </a:extLst>
            </p:cNvPr>
            <p:cNvSpPr/>
            <p:nvPr/>
          </p:nvSpPr>
          <p:spPr>
            <a:xfrm>
              <a:off x="981005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EBAE98A-EEA8-4E9F-B60B-4EC4C03C1577}"/>
                </a:ext>
              </a:extLst>
            </p:cNvPr>
            <p:cNvSpPr/>
            <p:nvPr/>
          </p:nvSpPr>
          <p:spPr>
            <a:xfrm>
              <a:off x="10732615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A55B664-ED0C-435A-97EC-39E07F468928}"/>
                </a:ext>
              </a:extLst>
            </p:cNvPr>
            <p:cNvSpPr/>
            <p:nvPr/>
          </p:nvSpPr>
          <p:spPr>
            <a:xfrm>
              <a:off x="2199956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757C2CD-0CC6-4007-8393-4DDBFC7C5ED1}"/>
                </a:ext>
              </a:extLst>
            </p:cNvPr>
            <p:cNvSpPr/>
            <p:nvPr/>
          </p:nvSpPr>
          <p:spPr>
            <a:xfrm>
              <a:off x="3418907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D440FAC-5609-495A-B4E4-249694720EB6}"/>
                </a:ext>
              </a:extLst>
            </p:cNvPr>
            <p:cNvSpPr/>
            <p:nvPr/>
          </p:nvSpPr>
          <p:spPr>
            <a:xfrm>
              <a:off x="4637858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C125FD1-9CF7-4443-9848-7E61F4632D00}"/>
                </a:ext>
              </a:extLst>
            </p:cNvPr>
            <p:cNvSpPr/>
            <p:nvPr/>
          </p:nvSpPr>
          <p:spPr>
            <a:xfrm>
              <a:off x="5856809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3B97D56-E55B-4FC8-B031-172CA0A796D5}"/>
                </a:ext>
              </a:extLst>
            </p:cNvPr>
            <p:cNvSpPr/>
            <p:nvPr/>
          </p:nvSpPr>
          <p:spPr>
            <a:xfrm>
              <a:off x="7075760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0B2343C-372F-40EE-A703-33B77EC7365A}"/>
                </a:ext>
              </a:extLst>
            </p:cNvPr>
            <p:cNvSpPr/>
            <p:nvPr/>
          </p:nvSpPr>
          <p:spPr>
            <a:xfrm>
              <a:off x="8294711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5A63127-985D-4FD7-96AF-51E1F53F3BC4}"/>
                </a:ext>
              </a:extLst>
            </p:cNvPr>
            <p:cNvSpPr/>
            <p:nvPr/>
          </p:nvSpPr>
          <p:spPr>
            <a:xfrm>
              <a:off x="9513662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9B4B162F-D78E-4C47-8D7E-0262689E2380}"/>
              </a:ext>
            </a:extLst>
          </p:cNvPr>
          <p:cNvSpPr/>
          <p:nvPr/>
        </p:nvSpPr>
        <p:spPr>
          <a:xfrm>
            <a:off x="719990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A1BC7A6-85AF-4AD6-BE40-CABC8ADCC91B}"/>
              </a:ext>
            </a:extLst>
          </p:cNvPr>
          <p:cNvSpPr/>
          <p:nvPr/>
        </p:nvSpPr>
        <p:spPr>
          <a:xfrm>
            <a:off x="10471601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C355BBD-9C76-4AC9-930D-8562613A7D90}"/>
              </a:ext>
            </a:extLst>
          </p:cNvPr>
          <p:cNvSpPr/>
          <p:nvPr/>
        </p:nvSpPr>
        <p:spPr>
          <a:xfrm>
            <a:off x="1938942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E320BF-3886-42FC-9E81-E09C52EB3E0E}"/>
              </a:ext>
            </a:extLst>
          </p:cNvPr>
          <p:cNvSpPr/>
          <p:nvPr/>
        </p:nvSpPr>
        <p:spPr>
          <a:xfrm>
            <a:off x="3157893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077E44A-FE4C-4CEE-B33B-E9F136B656E3}"/>
              </a:ext>
            </a:extLst>
          </p:cNvPr>
          <p:cNvSpPr/>
          <p:nvPr/>
        </p:nvSpPr>
        <p:spPr>
          <a:xfrm>
            <a:off x="4376843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E3D306B-A687-4A46-8DFF-93143DABCDC2}"/>
              </a:ext>
            </a:extLst>
          </p:cNvPr>
          <p:cNvSpPr/>
          <p:nvPr/>
        </p:nvSpPr>
        <p:spPr>
          <a:xfrm>
            <a:off x="5595794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448A934-E6D8-4AA4-A402-D79C2F695D1B}"/>
              </a:ext>
            </a:extLst>
          </p:cNvPr>
          <p:cNvSpPr/>
          <p:nvPr/>
        </p:nvSpPr>
        <p:spPr>
          <a:xfrm>
            <a:off x="6814746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D60A29E-6375-49B4-90A5-DBF10D1D234C}"/>
              </a:ext>
            </a:extLst>
          </p:cNvPr>
          <p:cNvSpPr/>
          <p:nvPr/>
        </p:nvSpPr>
        <p:spPr>
          <a:xfrm>
            <a:off x="8033697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EC0DBF4-5786-46E3-9247-5C1D6B7B026F}"/>
              </a:ext>
            </a:extLst>
          </p:cNvPr>
          <p:cNvSpPr/>
          <p:nvPr/>
        </p:nvSpPr>
        <p:spPr>
          <a:xfrm>
            <a:off x="9252647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B23ED99-FEFD-468A-954F-AB109E5EE9D9}"/>
              </a:ext>
            </a:extLst>
          </p:cNvPr>
          <p:cNvSpPr/>
          <p:nvPr/>
        </p:nvSpPr>
        <p:spPr>
          <a:xfrm>
            <a:off x="719990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ACAE997-BD63-4E23-9E26-C36A84E7BC48}"/>
              </a:ext>
            </a:extLst>
          </p:cNvPr>
          <p:cNvSpPr/>
          <p:nvPr/>
        </p:nvSpPr>
        <p:spPr>
          <a:xfrm>
            <a:off x="10471601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4528936-3179-4816-BA63-199B28525B8E}"/>
              </a:ext>
            </a:extLst>
          </p:cNvPr>
          <p:cNvSpPr/>
          <p:nvPr/>
        </p:nvSpPr>
        <p:spPr>
          <a:xfrm>
            <a:off x="1938942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0B43512-CEFE-4C98-A4C7-4E3D3951E0D2}"/>
              </a:ext>
            </a:extLst>
          </p:cNvPr>
          <p:cNvSpPr/>
          <p:nvPr/>
        </p:nvSpPr>
        <p:spPr>
          <a:xfrm>
            <a:off x="3157893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ADD30B8-18B6-4C93-A697-C94CD6F2AE63}"/>
              </a:ext>
            </a:extLst>
          </p:cNvPr>
          <p:cNvSpPr/>
          <p:nvPr/>
        </p:nvSpPr>
        <p:spPr>
          <a:xfrm>
            <a:off x="4376843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1D3D4F0-D92B-4910-BEC2-10C3DC53EC51}"/>
              </a:ext>
            </a:extLst>
          </p:cNvPr>
          <p:cNvSpPr/>
          <p:nvPr/>
        </p:nvSpPr>
        <p:spPr>
          <a:xfrm>
            <a:off x="5595794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AA5C0E0-CF8B-4391-B23C-13824C265928}"/>
              </a:ext>
            </a:extLst>
          </p:cNvPr>
          <p:cNvSpPr/>
          <p:nvPr/>
        </p:nvSpPr>
        <p:spPr>
          <a:xfrm>
            <a:off x="6814746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B39A2AE-16BC-4A74-855B-EC8F597562E0}"/>
              </a:ext>
            </a:extLst>
          </p:cNvPr>
          <p:cNvSpPr/>
          <p:nvPr/>
        </p:nvSpPr>
        <p:spPr>
          <a:xfrm>
            <a:off x="8033697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1A238C5-99B6-4518-AC4E-A1B3B2356B94}"/>
              </a:ext>
            </a:extLst>
          </p:cNvPr>
          <p:cNvSpPr/>
          <p:nvPr/>
        </p:nvSpPr>
        <p:spPr>
          <a:xfrm>
            <a:off x="9252647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20CE0D8-8733-4148-A2A7-7D5CC544D232}"/>
              </a:ext>
            </a:extLst>
          </p:cNvPr>
          <p:cNvSpPr/>
          <p:nvPr/>
        </p:nvSpPr>
        <p:spPr>
          <a:xfrm>
            <a:off x="719990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BD52D98-8AC6-407F-81AB-63BEF831207A}"/>
              </a:ext>
            </a:extLst>
          </p:cNvPr>
          <p:cNvSpPr/>
          <p:nvPr/>
        </p:nvSpPr>
        <p:spPr>
          <a:xfrm>
            <a:off x="10471601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E398CA8-9662-48E3-9A22-A46E1BC6B2B7}"/>
              </a:ext>
            </a:extLst>
          </p:cNvPr>
          <p:cNvSpPr/>
          <p:nvPr/>
        </p:nvSpPr>
        <p:spPr>
          <a:xfrm>
            <a:off x="1938942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6175A32-6198-44DE-B3AF-453486D7C75D}"/>
              </a:ext>
            </a:extLst>
          </p:cNvPr>
          <p:cNvSpPr/>
          <p:nvPr/>
        </p:nvSpPr>
        <p:spPr>
          <a:xfrm>
            <a:off x="3157893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899C522-4B57-4428-AB71-12B1CEBB14EA}"/>
              </a:ext>
            </a:extLst>
          </p:cNvPr>
          <p:cNvSpPr/>
          <p:nvPr/>
        </p:nvSpPr>
        <p:spPr>
          <a:xfrm>
            <a:off x="4376843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58D04BB-28E5-419C-84CB-C2C66B0B106C}"/>
              </a:ext>
            </a:extLst>
          </p:cNvPr>
          <p:cNvSpPr/>
          <p:nvPr/>
        </p:nvSpPr>
        <p:spPr>
          <a:xfrm>
            <a:off x="5595794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A25F2E7-818D-441E-9C32-285595F788E6}"/>
              </a:ext>
            </a:extLst>
          </p:cNvPr>
          <p:cNvSpPr/>
          <p:nvPr/>
        </p:nvSpPr>
        <p:spPr>
          <a:xfrm>
            <a:off x="6814746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30F9C08-485E-407B-B8B6-5E78DAB96EBA}"/>
              </a:ext>
            </a:extLst>
          </p:cNvPr>
          <p:cNvSpPr/>
          <p:nvPr/>
        </p:nvSpPr>
        <p:spPr>
          <a:xfrm>
            <a:off x="8033697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DCF85FB-0283-4025-9FA5-7C8654032D3A}"/>
              </a:ext>
            </a:extLst>
          </p:cNvPr>
          <p:cNvSpPr/>
          <p:nvPr/>
        </p:nvSpPr>
        <p:spPr>
          <a:xfrm>
            <a:off x="9252647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31B1548-D56D-4A0E-A063-EB18DCDD3F0B}"/>
              </a:ext>
            </a:extLst>
          </p:cNvPr>
          <p:cNvSpPr/>
          <p:nvPr/>
        </p:nvSpPr>
        <p:spPr>
          <a:xfrm>
            <a:off x="719990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615AD45-8984-4A28-887E-0E274C7AC81D}"/>
              </a:ext>
            </a:extLst>
          </p:cNvPr>
          <p:cNvSpPr/>
          <p:nvPr/>
        </p:nvSpPr>
        <p:spPr>
          <a:xfrm>
            <a:off x="10471601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F0398FA-3EA1-416A-A04E-46724985CC36}"/>
              </a:ext>
            </a:extLst>
          </p:cNvPr>
          <p:cNvSpPr/>
          <p:nvPr/>
        </p:nvSpPr>
        <p:spPr>
          <a:xfrm>
            <a:off x="1938942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2A286E8-A4BD-4AEE-B4D0-54EF8E90A4DA}"/>
              </a:ext>
            </a:extLst>
          </p:cNvPr>
          <p:cNvSpPr/>
          <p:nvPr/>
        </p:nvSpPr>
        <p:spPr>
          <a:xfrm>
            <a:off x="3157893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575FC13-D32F-44C6-9980-4D5AC28AF07F}"/>
              </a:ext>
            </a:extLst>
          </p:cNvPr>
          <p:cNvSpPr/>
          <p:nvPr/>
        </p:nvSpPr>
        <p:spPr>
          <a:xfrm>
            <a:off x="4376843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FA20FD0-168D-4973-8E74-8D67D088C72C}"/>
              </a:ext>
            </a:extLst>
          </p:cNvPr>
          <p:cNvSpPr/>
          <p:nvPr/>
        </p:nvSpPr>
        <p:spPr>
          <a:xfrm>
            <a:off x="5595794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4A2C2FB6-6E2A-458A-986E-E7DB6D87413B}"/>
              </a:ext>
            </a:extLst>
          </p:cNvPr>
          <p:cNvSpPr/>
          <p:nvPr/>
        </p:nvSpPr>
        <p:spPr>
          <a:xfrm>
            <a:off x="6814746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C804648-829F-4B46-A74B-F3326C273907}"/>
              </a:ext>
            </a:extLst>
          </p:cNvPr>
          <p:cNvSpPr/>
          <p:nvPr/>
        </p:nvSpPr>
        <p:spPr>
          <a:xfrm>
            <a:off x="8033697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81F9363-0763-423A-9DAD-3215C858A359}"/>
              </a:ext>
            </a:extLst>
          </p:cNvPr>
          <p:cNvSpPr/>
          <p:nvPr/>
        </p:nvSpPr>
        <p:spPr>
          <a:xfrm>
            <a:off x="9252647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2B71FE8-604D-4D60-B174-643052643D54}"/>
              </a:ext>
            </a:extLst>
          </p:cNvPr>
          <p:cNvSpPr/>
          <p:nvPr/>
        </p:nvSpPr>
        <p:spPr>
          <a:xfrm>
            <a:off x="9266694" y="5563541"/>
            <a:ext cx="1163881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AF0BB37-DFAE-4F49-9A39-D79FE72ECF45}"/>
              </a:ext>
            </a:extLst>
          </p:cNvPr>
          <p:cNvSpPr/>
          <p:nvPr/>
        </p:nvSpPr>
        <p:spPr>
          <a:xfrm>
            <a:off x="10471600" y="5564941"/>
            <a:ext cx="1141379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026" name="Picture 2" descr="http://www.mmaglobal.com/files/styles/member_logo_medium/public/logos/unknown_45.png?itok=-tKvgdzZ">
            <a:extLst>
              <a:ext uri="{FF2B5EF4-FFF2-40B4-BE49-F238E27FC236}">
                <a16:creationId xmlns:a16="http://schemas.microsoft.com/office/drawing/2014/main" id="{BEEEC3E1-9E38-4DB1-A5A7-6C49C23B7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095" y="1353993"/>
            <a:ext cx="559364" cy="447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mmaglobal.com/files/styles/member_logo_medium/public/logos/snapchat.png?itok=Fp_k83YW">
            <a:extLst>
              <a:ext uri="{FF2B5EF4-FFF2-40B4-BE49-F238E27FC236}">
                <a16:creationId xmlns:a16="http://schemas.microsoft.com/office/drawing/2014/main" id="{E9D120E6-3DFF-443F-B39D-5080B3F9CC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7707" y="1355728"/>
            <a:ext cx="534040" cy="427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psiint.com/wp-content/uploads/2017/03/linkedin-logo-copy.png">
            <a:extLst>
              <a:ext uri="{FF2B5EF4-FFF2-40B4-BE49-F238E27FC236}">
                <a16:creationId xmlns:a16="http://schemas.microsoft.com/office/drawing/2014/main" id="{2260DF12-A905-4226-9D69-449FF4424F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5095" y="1362073"/>
            <a:ext cx="417167" cy="417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12" descr="https://www.seeklogo.net/wp-content/uploads/2011/08/facebook-logo-vector-400x400.png">
            <a:extLst>
              <a:ext uri="{FF2B5EF4-FFF2-40B4-BE49-F238E27FC236}">
                <a16:creationId xmlns:a16="http://schemas.microsoft.com/office/drawing/2014/main" id="{40AB90B2-9746-4DF9-AC55-63FB878925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66" t="33537" r="12466" b="33537"/>
          <a:stretch/>
        </p:blipFill>
        <p:spPr bwMode="auto">
          <a:xfrm>
            <a:off x="4540329" y="1428052"/>
            <a:ext cx="844600" cy="325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2" descr="https://upload.wikimedia.org/wikipedia/commons/4/48/EBay_logo.png">
            <a:extLst>
              <a:ext uri="{FF2B5EF4-FFF2-40B4-BE49-F238E27FC236}">
                <a16:creationId xmlns:a16="http://schemas.microsoft.com/office/drawing/2014/main" id="{E21BB3D1-F008-4DF1-A760-75B086191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7869" y="1391906"/>
            <a:ext cx="786239" cy="343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3/34/NBCUNI_Logo.svg/2000px-NBCUNI_Logo.svg.png">
            <a:extLst>
              <a:ext uri="{FF2B5EF4-FFF2-40B4-BE49-F238E27FC236}">
                <a16:creationId xmlns:a16="http://schemas.microsoft.com/office/drawing/2014/main" id="{988C9018-7C88-4051-A009-8A5C567BB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5739" y="1519364"/>
            <a:ext cx="950771" cy="107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10" descr="https://upload.wikimedia.org/wikipedia/commons/thumb/2/2f/Google_2015_logo.svg/2000px-Google_2015_logo.svg.png">
            <a:extLst>
              <a:ext uri="{FF2B5EF4-FFF2-40B4-BE49-F238E27FC236}">
                <a16:creationId xmlns:a16="http://schemas.microsoft.com/office/drawing/2014/main" id="{EE9EB5F3-B44D-4DDB-9D62-C57DBB58EA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1681" y="1462871"/>
            <a:ext cx="755604" cy="255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http://www.brandchannel.com/wp-content/uploads/2016/02/ibm-weather-company-logo.jpg">
            <a:extLst>
              <a:ext uri="{FF2B5EF4-FFF2-40B4-BE49-F238E27FC236}">
                <a16:creationId xmlns:a16="http://schemas.microsoft.com/office/drawing/2014/main" id="{557D2D6B-F25B-4585-BC6A-A93021E96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4253" y="1923273"/>
            <a:ext cx="522929" cy="500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http://www.valuewalk.com/wp-content/uploads/2015/02/pandora_logo_blue.jpg">
            <a:extLst>
              <a:ext uri="{FF2B5EF4-FFF2-40B4-BE49-F238E27FC236}">
                <a16:creationId xmlns:a16="http://schemas.microsoft.com/office/drawing/2014/main" id="{88F296C9-E3EB-4C4C-A160-66EB95E33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2083" y="2068767"/>
            <a:ext cx="974799" cy="213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4" descr="https://upload.wikimedia.org/wikipedia/commons/thumb/c/ce/Coca-Cola_logo.svg/2000px-Coca-Cola_logo.svg.png">
            <a:extLst>
              <a:ext uri="{FF2B5EF4-FFF2-40B4-BE49-F238E27FC236}">
                <a16:creationId xmlns:a16="http://schemas.microsoft.com/office/drawing/2014/main" id="{A45980CE-CADD-4116-8607-194F16E56A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93757" y="2068767"/>
            <a:ext cx="727263" cy="241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http://photos.prnewswire.com/prnfull/20160112/321475LOGO">
            <a:extLst>
              <a:ext uri="{FF2B5EF4-FFF2-40B4-BE49-F238E27FC236}">
                <a16:creationId xmlns:a16="http://schemas.microsoft.com/office/drawing/2014/main" id="{24D26CD9-CB5A-4B16-B136-C8B1685A7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08789" y="2645695"/>
            <a:ext cx="831879" cy="283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0" name="Picture 36" descr="https://cvshealth.com/sites/default/themes/cvs/img/cvs-health-logo-stacked.png">
            <a:extLst>
              <a:ext uri="{FF2B5EF4-FFF2-40B4-BE49-F238E27FC236}">
                <a16:creationId xmlns:a16="http://schemas.microsoft.com/office/drawing/2014/main" id="{E092FEDF-91C9-478C-827D-AE648310C4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4110" y="2583349"/>
            <a:ext cx="777039" cy="407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 descr="http://www.mmaglobal.com/files/styles/member_logo_large/public/logos/unknown_3.png?itok=yETp4Hy2">
            <a:extLst>
              <a:ext uri="{FF2B5EF4-FFF2-40B4-BE49-F238E27FC236}">
                <a16:creationId xmlns:a16="http://schemas.microsoft.com/office/drawing/2014/main" id="{6BD5FD1D-8CA1-4256-B9D2-EF55DA05B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5647" y="3217807"/>
            <a:ext cx="476063" cy="404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0" name="Picture 18" descr="http://www.carlogos.org/logo/Ford-logo-1929-1440x900.png">
            <a:extLst>
              <a:ext uri="{FF2B5EF4-FFF2-40B4-BE49-F238E27FC236}">
                <a16:creationId xmlns:a16="http://schemas.microsoft.com/office/drawing/2014/main" id="{9084B8B3-AD36-4D40-89CF-AAB936380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03577" y="3222275"/>
            <a:ext cx="831808" cy="404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4" name="Picture 60" descr="https://upload.wikimedia.org/wikipedia/commons/thumb/2/22/ETrade.svg/2000px-ETrade.svg.png">
            <a:extLst>
              <a:ext uri="{FF2B5EF4-FFF2-40B4-BE49-F238E27FC236}">
                <a16:creationId xmlns:a16="http://schemas.microsoft.com/office/drawing/2014/main" id="{1CAB9AED-16F5-4E7A-82C7-0F0DD8180D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579" y="3909562"/>
            <a:ext cx="1086928" cy="271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6" name="Picture 62" descr="Samsung logo PNG">
            <a:extLst>
              <a:ext uri="{FF2B5EF4-FFF2-40B4-BE49-F238E27FC236}">
                <a16:creationId xmlns:a16="http://schemas.microsoft.com/office/drawing/2014/main" id="{976C1C61-E488-4B2A-BCFF-D53829E64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2789" y="3944725"/>
            <a:ext cx="1102043" cy="201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4" descr="https://www.graphicsprings.com/filestorage/images/479/Unilever%20Logo.jpg?width=520&amp;quality=80&amp;crop=0&amp;method=ratio">
            <a:extLst>
              <a:ext uri="{FF2B5EF4-FFF2-40B4-BE49-F238E27FC236}">
                <a16:creationId xmlns:a16="http://schemas.microsoft.com/office/drawing/2014/main" id="{71D563BD-91D3-4468-8104-5347972B18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36341" y="3784261"/>
            <a:ext cx="490475" cy="474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2" name="Picture 68" descr="http://www.builtinchicago.org/sites/default/files/imagecache/opengraph/company_logos/vibes_logo_2013_0.png">
            <a:extLst>
              <a:ext uri="{FF2B5EF4-FFF2-40B4-BE49-F238E27FC236}">
                <a16:creationId xmlns:a16="http://schemas.microsoft.com/office/drawing/2014/main" id="{B40BEEDC-FBB2-4B5A-8E27-6BA5F07C5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3963" y="3878964"/>
            <a:ext cx="571040" cy="285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8" name="Picture 74">
            <a:extLst>
              <a:ext uri="{FF2B5EF4-FFF2-40B4-BE49-F238E27FC236}">
                <a16:creationId xmlns:a16="http://schemas.microsoft.com/office/drawing/2014/main" id="{BE603EFD-E515-4F64-8419-74955CC359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4080" y="4490726"/>
            <a:ext cx="1080667" cy="265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0" name="Picture 76" descr="http://1000logos.net/wp-content/uploads/2016/11/JP-Morgan-Chase-Logo.jpg">
            <a:extLst>
              <a:ext uri="{FF2B5EF4-FFF2-40B4-BE49-F238E27FC236}">
                <a16:creationId xmlns:a16="http://schemas.microsoft.com/office/drawing/2014/main" id="{88D261A0-0C6C-4E75-B2E6-6E0FD3967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23462" y="4450069"/>
            <a:ext cx="1045985" cy="321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2" name="Picture 78" descr="http://www.mmaglobal.com/files/styles/member_logo_large/public/logos/Wal-Mart_logo.png?itok=Piqq7uik">
            <a:extLst>
              <a:ext uri="{FF2B5EF4-FFF2-40B4-BE49-F238E27FC236}">
                <a16:creationId xmlns:a16="http://schemas.microsoft.com/office/drawing/2014/main" id="{4C38D67E-464A-4341-895D-4C0F14C1E8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28315" y="4506225"/>
            <a:ext cx="1030725" cy="281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4" name="Picture 80" descr="http://www.mmaglobal.com/files/styles/member_logo_large/public/logos/unknown_23.png?itok=PvRSlYQM">
            <a:extLst>
              <a:ext uri="{FF2B5EF4-FFF2-40B4-BE49-F238E27FC236}">
                <a16:creationId xmlns:a16="http://schemas.microsoft.com/office/drawing/2014/main" id="{97125D74-070E-45A8-83E9-3B2A91C05E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4548" y="4374717"/>
            <a:ext cx="634608" cy="539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6" name="Picture 82" descr="http://3blaws.s3.amazonaws.com/images/gm_logo_16x9_0.jpg">
            <a:extLst>
              <a:ext uri="{FF2B5EF4-FFF2-40B4-BE49-F238E27FC236}">
                <a16:creationId xmlns:a16="http://schemas.microsoft.com/office/drawing/2014/main" id="{5B8544D1-888E-4390-B28A-55CDA33858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68117" y="4438535"/>
            <a:ext cx="426923" cy="38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4" name="Picture 90" descr="http://www.commcorestrategies.com/wp-content/uploads/2015/12/Campbell-Soup-Company.png">
            <a:extLst>
              <a:ext uri="{FF2B5EF4-FFF2-40B4-BE49-F238E27FC236}">
                <a16:creationId xmlns:a16="http://schemas.microsoft.com/office/drawing/2014/main" id="{E002E3D8-6F6D-4A72-814A-AE9D6C581A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69877" y="4454869"/>
            <a:ext cx="775019" cy="336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8" name="Picture 94" descr="https://business.pinterest.com/sites/default/files/mdp_logo_lg/2017-02/epsilon-888.png">
            <a:extLst>
              <a:ext uri="{FF2B5EF4-FFF2-40B4-BE49-F238E27FC236}">
                <a16:creationId xmlns:a16="http://schemas.microsoft.com/office/drawing/2014/main" id="{FF256B51-A90E-4AA0-8F0F-92767202D3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14473" y="5093677"/>
            <a:ext cx="820507" cy="28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4" name="Picture 100" descr="https://accionchicago.org/wp-content/uploads/2015/06/MC-Logo.jpg">
            <a:extLst>
              <a:ext uri="{FF2B5EF4-FFF2-40B4-BE49-F238E27FC236}">
                <a16:creationId xmlns:a16="http://schemas.microsoft.com/office/drawing/2014/main" id="{1669CD2C-F093-406D-A269-F7E8F63635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4406" y="5115262"/>
            <a:ext cx="990223" cy="21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" name="Picture 102" descr="http://gaia.adage.com/images/bin/image/jumbo/neustarlogo3x2.jpg">
            <a:extLst>
              <a:ext uri="{FF2B5EF4-FFF2-40B4-BE49-F238E27FC236}">
                <a16:creationId xmlns:a16="http://schemas.microsoft.com/office/drawing/2014/main" id="{4E243A1E-525D-4AC9-9C6A-55B75CADEF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74933" y="5115261"/>
            <a:ext cx="1013292" cy="291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" name="Picture 104" descr="http://www.mobyaffiliates.com/wp-content/uploads/2015/04/AppsFlyer-logo.png">
            <a:extLst>
              <a:ext uri="{FF2B5EF4-FFF2-40B4-BE49-F238E27FC236}">
                <a16:creationId xmlns:a16="http://schemas.microsoft.com/office/drawing/2014/main" id="{D4AF394D-369E-4CD8-B048-4538007A17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4632" y="5092695"/>
            <a:ext cx="1030595" cy="302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8" name="Picture 114" descr="https://upload.wikimedia.org/wikipedia/en/thumb/1/15/DunkinBrands.svg/1280px-DunkinBrands.svg.png">
            <a:extLst>
              <a:ext uri="{FF2B5EF4-FFF2-40B4-BE49-F238E27FC236}">
                <a16:creationId xmlns:a16="http://schemas.microsoft.com/office/drawing/2014/main" id="{E11C008D-5429-4547-84FC-0BC0DAE760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7773" y="2053353"/>
            <a:ext cx="844619" cy="270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2" name="Picture 118" descr="http://investcorrectly.com/wp-content/uploads/2015/02/1-800-flowers-logo.jpg">
            <a:extLst>
              <a:ext uri="{FF2B5EF4-FFF2-40B4-BE49-F238E27FC236}">
                <a16:creationId xmlns:a16="http://schemas.microsoft.com/office/drawing/2014/main" id="{9A8C6F82-439E-4E06-8CC0-A1D56CB7E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690" y="5617287"/>
            <a:ext cx="1013511" cy="44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8" name="Picture 124" descr="http://logonoid.com/images/chobani-logo.png">
            <a:extLst>
              <a:ext uri="{FF2B5EF4-FFF2-40B4-BE49-F238E27FC236}">
                <a16:creationId xmlns:a16="http://schemas.microsoft.com/office/drawing/2014/main" id="{FCB3C698-FF22-4E6A-85BE-42D412082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998" y="5735418"/>
            <a:ext cx="1040813" cy="26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2" name="Picture 128" descr="http://www.edigitalagency.com.au/wp-content/uploads/salesforce-dmp-logo-png-ssp-platform.png">
            <a:extLst>
              <a:ext uri="{FF2B5EF4-FFF2-40B4-BE49-F238E27FC236}">
                <a16:creationId xmlns:a16="http://schemas.microsoft.com/office/drawing/2014/main" id="{F5C8462A-674F-4BB4-B5DB-39A057B12F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5864" y="1359700"/>
            <a:ext cx="1007115" cy="435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4" name="Rectangle 153">
            <a:extLst>
              <a:ext uri="{FF2B5EF4-FFF2-40B4-BE49-F238E27FC236}">
                <a16:creationId xmlns:a16="http://schemas.microsoft.com/office/drawing/2014/main" id="{131B1548-D56D-4A0E-A063-EB18DCDD3F0B}"/>
              </a:ext>
            </a:extLst>
          </p:cNvPr>
          <p:cNvSpPr/>
          <p:nvPr/>
        </p:nvSpPr>
        <p:spPr>
          <a:xfrm>
            <a:off x="719990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F0398FA-3EA1-416A-A04E-46724985CC36}"/>
              </a:ext>
            </a:extLst>
          </p:cNvPr>
          <p:cNvSpPr/>
          <p:nvPr/>
        </p:nvSpPr>
        <p:spPr>
          <a:xfrm>
            <a:off x="1938942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42A286E8-A4BD-4AEE-B4D0-54EF8E90A4DA}"/>
              </a:ext>
            </a:extLst>
          </p:cNvPr>
          <p:cNvSpPr/>
          <p:nvPr/>
        </p:nvSpPr>
        <p:spPr>
          <a:xfrm>
            <a:off x="3157893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575FC13-D32F-44C6-9980-4D5AC28AF07F}"/>
              </a:ext>
            </a:extLst>
          </p:cNvPr>
          <p:cNvSpPr/>
          <p:nvPr/>
        </p:nvSpPr>
        <p:spPr>
          <a:xfrm>
            <a:off x="4376843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EFA20FD0-168D-4973-8E74-8D67D088C72C}"/>
              </a:ext>
            </a:extLst>
          </p:cNvPr>
          <p:cNvSpPr/>
          <p:nvPr/>
        </p:nvSpPr>
        <p:spPr>
          <a:xfrm>
            <a:off x="5595794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4A2C2FB6-6E2A-458A-986E-E7DB6D87413B}"/>
              </a:ext>
            </a:extLst>
          </p:cNvPr>
          <p:cNvSpPr/>
          <p:nvPr/>
        </p:nvSpPr>
        <p:spPr>
          <a:xfrm>
            <a:off x="6814746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5C804648-829F-4B46-A74B-F3326C273907}"/>
              </a:ext>
            </a:extLst>
          </p:cNvPr>
          <p:cNvSpPr/>
          <p:nvPr/>
        </p:nvSpPr>
        <p:spPr>
          <a:xfrm>
            <a:off x="8033697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4449" y="3217807"/>
            <a:ext cx="841015" cy="37947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F541F1-2882-154C-AF47-B01A120FB81B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0736" y="1378314"/>
            <a:ext cx="1067027" cy="3388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60A698-B941-F14F-8F4E-78D1461DCBC4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4728" y="4995053"/>
            <a:ext cx="864149" cy="55359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3F0A740-D70B-734D-940B-BE3432EAC29B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4111" y="3097638"/>
            <a:ext cx="701679" cy="62645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167F6B7-9600-554F-ACD3-03A40E94B5EF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3135" y="4234934"/>
            <a:ext cx="1073747" cy="8053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28F6AA5-16E8-8C4C-9790-6E09FD9C95EE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4470" y="2652321"/>
            <a:ext cx="837653" cy="29056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BDF63DA-F1E6-E04F-872C-9E096B290EC4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8767" y="2518494"/>
            <a:ext cx="788127" cy="55107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31697CA-E338-E143-8359-CAE5DD150050}"/>
              </a:ext>
            </a:extLst>
          </p:cNvPr>
          <p:cNvPicPr>
            <a:picLocks noChangeAspect="1"/>
          </p:cNvPicPr>
          <p:nvPr/>
        </p:nvPicPr>
        <p:blipFill rotWithShape="1"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2861" y="5085937"/>
            <a:ext cx="1153241" cy="35013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3482229-FA1F-D444-9280-1EB8B48889CC}"/>
              </a:ext>
            </a:extLst>
          </p:cNvPr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31" y="1609343"/>
            <a:ext cx="1042976" cy="104297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8A77BCE-7F8A-8245-AACE-73719B7ADB32}"/>
              </a:ext>
            </a:extLst>
          </p:cNvPr>
          <p:cNvPicPr>
            <a:picLocks noChangeAspect="1"/>
          </p:cNvPicPr>
          <p:nvPr/>
        </p:nvPicPr>
        <p:blipFill rotWithShape="1"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2375" y="2524549"/>
            <a:ext cx="841400" cy="51017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3FA2F1E-B8A8-D94D-B3C2-0F2E9D343B8F}"/>
              </a:ext>
            </a:extLst>
          </p:cNvPr>
          <p:cNvPicPr>
            <a:picLocks noChangeAspect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9263" y="3836149"/>
            <a:ext cx="1380580" cy="34514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B70CA6-009E-9D46-A791-CF8C69DEADF8}"/>
              </a:ext>
            </a:extLst>
          </p:cNvPr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1597" y="3846643"/>
            <a:ext cx="1042215" cy="382284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FF1EFFB-4C9D-EA4A-AC16-D8B4F3CFCF52}"/>
              </a:ext>
            </a:extLst>
          </p:cNvPr>
          <p:cNvPicPr>
            <a:picLocks noChangeAspect="1"/>
          </p:cNvPicPr>
          <p:nvPr/>
        </p:nvPicPr>
        <p:blipFill rotWithShape="1"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871" y="5001290"/>
            <a:ext cx="846244" cy="48487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80027A1-6840-4E4C-9CA9-D44CDB20319B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501" y="1675882"/>
            <a:ext cx="993183" cy="99318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3B4D8D1-0AE9-3547-96A2-26169B7B4569}"/>
              </a:ext>
            </a:extLst>
          </p:cNvPr>
          <p:cNvPicPr>
            <a:picLocks noChangeAspect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1877" y="1893921"/>
            <a:ext cx="1002448" cy="56568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B9A939D-658C-C249-AA67-16F5C12CF6F9}"/>
              </a:ext>
            </a:extLst>
          </p:cNvPr>
          <p:cNvPicPr>
            <a:picLocks noChangeAspect="1"/>
          </p:cNvPicPr>
          <p:nvPr/>
        </p:nvPicPr>
        <p:blipFill rotWithShape="1"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9882" y="5703367"/>
            <a:ext cx="1097280" cy="3532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021428F-2E3A-0146-BB2A-28EA37FE38BE}"/>
              </a:ext>
            </a:extLst>
          </p:cNvPr>
          <p:cNvPicPr>
            <a:picLocks noChangeAspect="1"/>
          </p:cNvPicPr>
          <p:nvPr/>
        </p:nvPicPr>
        <p:blipFill rotWithShape="1"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0422" y="2025697"/>
            <a:ext cx="1032582" cy="32585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7536CA8-AD91-504B-BC85-41859D2E9DDE}"/>
              </a:ext>
            </a:extLst>
          </p:cNvPr>
          <p:cNvPicPr>
            <a:picLocks noChangeAspect="1"/>
          </p:cNvPicPr>
          <p:nvPr/>
        </p:nvPicPr>
        <p:blipFill rotWithShape="1"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1042" y="3810640"/>
            <a:ext cx="850111" cy="406184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CF40510F-13F3-FB4A-86CC-A6C32AE6A4FC}"/>
              </a:ext>
            </a:extLst>
          </p:cNvPr>
          <p:cNvPicPr>
            <a:picLocks noChangeAspect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9873" y="4315120"/>
            <a:ext cx="758641" cy="658647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C34691D-1C0F-0642-836B-E784B0CEB3CC}"/>
              </a:ext>
            </a:extLst>
          </p:cNvPr>
          <p:cNvPicPr>
            <a:picLocks noChangeAspect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505" y="5628834"/>
            <a:ext cx="744411" cy="459302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2530308F-6BE0-744C-A6A7-D66409E4AA23}"/>
              </a:ext>
            </a:extLst>
          </p:cNvPr>
          <p:cNvPicPr>
            <a:picLocks noChangeAspect="1"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9866" y="3148707"/>
            <a:ext cx="1008678" cy="542852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69852ED7-6EC0-754A-A660-1C74D9800F8F}"/>
              </a:ext>
            </a:extLst>
          </p:cNvPr>
          <p:cNvPicPr>
            <a:picLocks noChangeAspect="1"/>
          </p:cNvPicPr>
          <p:nvPr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1934" y="5706841"/>
            <a:ext cx="1041646" cy="335445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1C7BAA28-EA08-3C4E-9C2F-0EDFCAB3E106}"/>
              </a:ext>
            </a:extLst>
          </p:cNvPr>
          <p:cNvPicPr>
            <a:picLocks noChangeAspect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98" y="3173635"/>
            <a:ext cx="475357" cy="475357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D3A2C71A-2662-754A-AE5B-07735B7C2A4B}"/>
              </a:ext>
            </a:extLst>
          </p:cNvPr>
          <p:cNvPicPr>
            <a:picLocks noChangeAspect="1"/>
          </p:cNvPicPr>
          <p:nvPr/>
        </p:nvPicPr>
        <p:blipFill>
          <a:blip r:embed="rId5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7250" y="3774040"/>
            <a:ext cx="873239" cy="52394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E416F4EA-50BB-6449-8E77-9A313BFEFC54}"/>
              </a:ext>
            </a:extLst>
          </p:cNvPr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3017" y="5024804"/>
            <a:ext cx="835272" cy="435581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3A0CEECB-9C57-A343-B084-C553FD165CA8}"/>
              </a:ext>
            </a:extLst>
          </p:cNvPr>
          <p:cNvPicPr>
            <a:picLocks noChangeAspect="1"/>
          </p:cNvPicPr>
          <p:nvPr/>
        </p:nvPicPr>
        <p:blipFill>
          <a:blip r:embed="rId6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2277" y="3520011"/>
            <a:ext cx="152475" cy="16204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E65B3C9-0EF7-DD42-A780-303A6F1CF0C5}"/>
              </a:ext>
            </a:extLst>
          </p:cNvPr>
          <p:cNvPicPr>
            <a:picLocks noChangeAspect="1"/>
          </p:cNvPicPr>
          <p:nvPr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9365" y="5670425"/>
            <a:ext cx="1195431" cy="43039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0BED63E-E1FF-3B48-9005-23AD91F11A66}"/>
              </a:ext>
            </a:extLst>
          </p:cNvPr>
          <p:cNvPicPr>
            <a:picLocks noChangeAspect="1"/>
          </p:cNvPicPr>
          <p:nvPr/>
        </p:nvPicPr>
        <p:blipFill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350" y="2524114"/>
            <a:ext cx="620303" cy="51743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0CEB8E6-16D3-014D-B4D2-0E3F5E5C1821}"/>
              </a:ext>
            </a:extLst>
          </p:cNvPr>
          <p:cNvPicPr>
            <a:picLocks noChangeAspect="1"/>
          </p:cNvPicPr>
          <p:nvPr/>
        </p:nvPicPr>
        <p:blipFill>
          <a:blip r:embed="rId6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8824" y="1905793"/>
            <a:ext cx="1186338" cy="593169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A389A4D3-05A2-0545-8159-94B2AB190B0A}"/>
              </a:ext>
            </a:extLst>
          </p:cNvPr>
          <p:cNvPicPr>
            <a:picLocks noChangeAspect="1"/>
          </p:cNvPicPr>
          <p:nvPr/>
        </p:nvPicPr>
        <p:blipFill>
          <a:blip r:embed="rId6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593" y="4989735"/>
            <a:ext cx="515040" cy="51504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B85ACAD-2497-3848-A814-501ADCC58236}"/>
              </a:ext>
            </a:extLst>
          </p:cNvPr>
          <p:cNvPicPr>
            <a:picLocks noChangeAspect="1"/>
          </p:cNvPicPr>
          <p:nvPr/>
        </p:nvPicPr>
        <p:blipFill>
          <a:blip r:embed="rId6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5556" y="5667393"/>
            <a:ext cx="1006155" cy="402462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3F429221-D344-C748-AC89-7EBBDF0BCBE5}"/>
              </a:ext>
            </a:extLst>
          </p:cNvPr>
          <p:cNvPicPr>
            <a:picLocks noChangeAspect="1"/>
          </p:cNvPicPr>
          <p:nvPr/>
        </p:nvPicPr>
        <p:blipFill>
          <a:blip r:embed="rId6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1997" y="5656152"/>
            <a:ext cx="1056185" cy="400422"/>
          </a:xfrm>
          <a:prstGeom prst="rect">
            <a:avLst/>
          </a:prstGeom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EF60FE0E-7AE9-AE44-81F9-FA8B7005D5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03577" y="2546600"/>
            <a:ext cx="73709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>
            <a:extLst>
              <a:ext uri="{FF2B5EF4-FFF2-40B4-BE49-F238E27FC236}">
                <a16:creationId xmlns:a16="http://schemas.microsoft.com/office/drawing/2014/main" id="{621A01DC-3A4A-CD41-9E23-2331ADDDF9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3842" y="2537076"/>
            <a:ext cx="634340" cy="50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>
            <a:extLst>
              <a:ext uri="{FF2B5EF4-FFF2-40B4-BE49-F238E27FC236}">
                <a16:creationId xmlns:a16="http://schemas.microsoft.com/office/drawing/2014/main" id="{E111FCCC-428B-6840-B6EB-8235BF578B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10590059" y="2549279"/>
            <a:ext cx="854837" cy="492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2" name="Picture 8">
            <a:extLst>
              <a:ext uri="{FF2B5EF4-FFF2-40B4-BE49-F238E27FC236}">
                <a16:creationId xmlns:a16="http://schemas.microsoft.com/office/drawing/2014/main" id="{A699D78B-4E09-7046-9B26-9FBD69EC6A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208" b="13387"/>
          <a:stretch/>
        </p:blipFill>
        <p:spPr bwMode="auto">
          <a:xfrm>
            <a:off x="9389493" y="3810500"/>
            <a:ext cx="814017" cy="45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4" name="Picture 10">
            <a:extLst>
              <a:ext uri="{FF2B5EF4-FFF2-40B4-BE49-F238E27FC236}">
                <a16:creationId xmlns:a16="http://schemas.microsoft.com/office/drawing/2014/main" id="{170AB1D0-870F-A341-BA7A-A42380AD2B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01" r="64650" b="31998"/>
          <a:stretch/>
        </p:blipFill>
        <p:spPr bwMode="auto">
          <a:xfrm>
            <a:off x="944738" y="3171356"/>
            <a:ext cx="620302" cy="505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6" name="Picture 12">
            <a:extLst>
              <a:ext uri="{FF2B5EF4-FFF2-40B4-BE49-F238E27FC236}">
                <a16:creationId xmlns:a16="http://schemas.microsoft.com/office/drawing/2014/main" id="{323D90E9-1AA3-354F-A159-723A4873B6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144" b="37141"/>
          <a:stretch/>
        </p:blipFill>
        <p:spPr bwMode="auto">
          <a:xfrm>
            <a:off x="6859125" y="3301201"/>
            <a:ext cx="1010521" cy="20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8" name="Picture 14">
            <a:extLst>
              <a:ext uri="{FF2B5EF4-FFF2-40B4-BE49-F238E27FC236}">
                <a16:creationId xmlns:a16="http://schemas.microsoft.com/office/drawing/2014/main" id="{CB24DAA7-334C-2043-8FAD-6BA4C4AE3B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2608" y="4401985"/>
            <a:ext cx="606099" cy="484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0" name="Picture 16">
            <a:extLst>
              <a:ext uri="{FF2B5EF4-FFF2-40B4-BE49-F238E27FC236}">
                <a16:creationId xmlns:a16="http://schemas.microsoft.com/office/drawing/2014/main" id="{688009B2-DF5E-9C46-92D8-7656C21DC0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33386" y="3217808"/>
            <a:ext cx="994016" cy="368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B8CFE9-FC83-A942-9506-19FE3AAAEA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7022" r="6340" b="26823"/>
          <a:stretch/>
        </p:blipFill>
        <p:spPr bwMode="auto">
          <a:xfrm>
            <a:off x="1938940" y="5602892"/>
            <a:ext cx="109728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0293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1AD20-EEF3-FA45-8536-D4C573380C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0469" y="492197"/>
            <a:ext cx="10320830" cy="887949"/>
          </a:xfrm>
        </p:spPr>
        <p:txBody>
          <a:bodyPr>
            <a:noAutofit/>
          </a:bodyPr>
          <a:lstStyle/>
          <a:p>
            <a:r>
              <a:rPr lang="en-US" sz="3200" dirty="0"/>
              <a:t>MMA Mission: </a:t>
            </a:r>
            <a:r>
              <a:rPr lang="en-US" sz="3200" b="0" dirty="0"/>
              <a:t>Architecting the Future of Marketing While Relentlessly Delivering Growth Today!</a:t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F51748-90D4-E740-8570-7AC811FE48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50336" y="1844490"/>
            <a:ext cx="9561095" cy="4443770"/>
          </a:xfrm>
        </p:spPr>
        <p:txBody>
          <a:bodyPr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en-US" sz="2000" dirty="0"/>
              <a:t>At the MMA, we believe the best way to </a:t>
            </a:r>
            <a:r>
              <a:rPr lang="en-US" b="1" dirty="0"/>
              <a:t>thrive</a:t>
            </a:r>
            <a:r>
              <a:rPr lang="en-US" sz="2000" b="1" dirty="0"/>
              <a:t> </a:t>
            </a:r>
            <a:r>
              <a:rPr lang="en-US" sz="2000" dirty="0"/>
              <a:t>—and the only way to</a:t>
            </a:r>
            <a:br>
              <a:rPr lang="en-US" sz="2000" dirty="0"/>
            </a:br>
            <a:r>
              <a:rPr lang="en-US" sz="2000" b="1" dirty="0"/>
              <a:t>survive</a:t>
            </a:r>
            <a:r>
              <a:rPr lang="en-US" sz="2000" dirty="0"/>
              <a:t> — is to capture this </a:t>
            </a:r>
            <a:r>
              <a:rPr lang="en-US" b="1" dirty="0"/>
              <a:t>zeitgeist</a:t>
            </a:r>
            <a:r>
              <a:rPr lang="en-US" sz="2000" dirty="0"/>
              <a:t> </a:t>
            </a:r>
            <a:r>
              <a:rPr lang="en-US" sz="2000" b="1" dirty="0"/>
              <a:t>NOW</a:t>
            </a:r>
            <a:r>
              <a:rPr lang="en-US" sz="2000" dirty="0"/>
              <a:t> by </a:t>
            </a:r>
            <a:r>
              <a:rPr lang="en-US" sz="2400" b="1" dirty="0"/>
              <a:t>aggressively</a:t>
            </a:r>
            <a:r>
              <a:rPr lang="en-US" sz="2000" dirty="0"/>
              <a:t> adopting proven, </a:t>
            </a:r>
            <a:r>
              <a:rPr lang="en-US" sz="2000" b="1" dirty="0"/>
              <a:t>peer-driven</a:t>
            </a:r>
            <a:r>
              <a:rPr lang="en-US" sz="2000" dirty="0"/>
              <a:t> and </a:t>
            </a:r>
            <a:r>
              <a:rPr lang="en-US" sz="3600" b="1" dirty="0"/>
              <a:t>scientific</a:t>
            </a:r>
            <a:r>
              <a:rPr lang="en-US" sz="2000" b="1" dirty="0"/>
              <a:t> best practices</a:t>
            </a:r>
            <a:r>
              <a:rPr lang="en-US" sz="2000" dirty="0"/>
              <a:t>, without compromise.</a:t>
            </a:r>
            <a:r>
              <a:rPr lang="en-US" sz="1050" dirty="0"/>
              <a:t>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endParaRPr lang="en-US" sz="1050" dirty="0"/>
          </a:p>
          <a:p>
            <a:pPr algn="ctr">
              <a:lnSpc>
                <a:spcPct val="100000"/>
              </a:lnSpc>
              <a:spcBef>
                <a:spcPts val="0"/>
              </a:spcBef>
              <a:buSzPct val="100000"/>
            </a:pPr>
            <a:endParaRPr lang="en-US" sz="1050" dirty="0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en-US" sz="2000" dirty="0"/>
              <a:t>In all that we do, we are committed to bringing the right</a:t>
            </a:r>
            <a:r>
              <a:rPr lang="en-US" sz="2000" b="1" dirty="0"/>
              <a:t> </a:t>
            </a:r>
            <a:r>
              <a:rPr lang="en-US" sz="2400" b="1" dirty="0"/>
              <a:t>people together</a:t>
            </a:r>
            <a:r>
              <a:rPr lang="en-US" sz="2400" dirty="0"/>
              <a:t> </a:t>
            </a:r>
            <a:r>
              <a:rPr lang="en-US" sz="2000" dirty="0"/>
              <a:t>to </a:t>
            </a:r>
            <a:r>
              <a:rPr lang="en-US" sz="2000" b="1" dirty="0"/>
              <a:t>challenge</a:t>
            </a:r>
            <a:r>
              <a:rPr lang="en-US" sz="2000" dirty="0"/>
              <a:t> the status quo and provide a </a:t>
            </a:r>
            <a:r>
              <a:rPr lang="en-US" sz="2000" b="1" dirty="0"/>
              <a:t>path forward</a:t>
            </a:r>
            <a:r>
              <a:rPr lang="en-US" sz="2000" dirty="0"/>
              <a:t>. 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endParaRPr lang="en-US" sz="2000" dirty="0"/>
          </a:p>
          <a:p>
            <a:pPr algn="ctr">
              <a:lnSpc>
                <a:spcPct val="100000"/>
              </a:lnSpc>
              <a:spcBef>
                <a:spcPts val="0"/>
              </a:spcBef>
              <a:buSzPct val="100000"/>
            </a:pPr>
            <a:endParaRPr lang="en-US" sz="1100" dirty="0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en-US" sz="2000" dirty="0"/>
              <a:t>We </a:t>
            </a:r>
            <a:r>
              <a:rPr lang="en-US" b="1" dirty="0"/>
              <a:t>invest millions </a:t>
            </a:r>
            <a:r>
              <a:rPr lang="en-US" sz="2000" dirty="0"/>
              <a:t>of dollars in </a:t>
            </a:r>
            <a:r>
              <a:rPr lang="en-US" sz="2000" b="1" dirty="0"/>
              <a:t>rigorous research </a:t>
            </a:r>
            <a:r>
              <a:rPr lang="en-US" sz="2000" dirty="0"/>
              <a:t>to arm marketers with unassailable </a:t>
            </a:r>
            <a:r>
              <a:rPr lang="en-US" sz="3600" b="1" dirty="0"/>
              <a:t>truths</a:t>
            </a:r>
            <a:r>
              <a:rPr lang="en-US" sz="2000" dirty="0"/>
              <a:t> and actionable </a:t>
            </a:r>
            <a:r>
              <a:rPr lang="en-US" sz="2400" b="1" dirty="0"/>
              <a:t>tools</a:t>
            </a:r>
            <a:r>
              <a:rPr lang="en-US" sz="2000" dirty="0"/>
              <a:t>.</a:t>
            </a:r>
          </a:p>
          <a:p>
            <a:pPr marL="230188" indent="-2301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br>
              <a:rPr lang="en-US" sz="1300" dirty="0"/>
            </a:br>
            <a:br>
              <a:rPr lang="en-US" sz="1300" dirty="0"/>
            </a:br>
            <a:br>
              <a:rPr lang="en-US" sz="1300" dirty="0"/>
            </a:br>
            <a:endParaRPr lang="en-US" sz="13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br>
              <a:rPr lang="en-US" sz="1300" dirty="0"/>
            </a:b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2028737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2326E6A-5FBE-40C7-826F-EEC23C3066B9}"/>
              </a:ext>
            </a:extLst>
          </p:cNvPr>
          <p:cNvCxnSpPr/>
          <p:nvPr/>
        </p:nvCxnSpPr>
        <p:spPr>
          <a:xfrm>
            <a:off x="211017" y="6651779"/>
            <a:ext cx="3018423" cy="0"/>
          </a:xfrm>
          <a:prstGeom prst="line">
            <a:avLst/>
          </a:prstGeom>
          <a:ln w="38100">
            <a:solidFill>
              <a:srgbClr val="873D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 picture containing bird&#10;&#10;Description automatically generated">
            <a:extLst>
              <a:ext uri="{FF2B5EF4-FFF2-40B4-BE49-F238E27FC236}">
                <a16:creationId xmlns:a16="http://schemas.microsoft.com/office/drawing/2014/main" id="{BB69416E-FCBF-47C9-BD74-88E69C5AEA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27497"/>
            <a:ext cx="12192000" cy="1822430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E52CD07-1D6E-450C-B14D-206BCE18B8C1}"/>
              </a:ext>
            </a:extLst>
          </p:cNvPr>
          <p:cNvSpPr txBox="1">
            <a:spLocks/>
          </p:cNvSpPr>
          <p:nvPr/>
        </p:nvSpPr>
        <p:spPr>
          <a:xfrm>
            <a:off x="73483" y="1906494"/>
            <a:ext cx="8677664" cy="46643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002060"/>
                </a:solidFill>
              </a:rPr>
              <a:t>A new marketing growth framework that has been </a:t>
            </a:r>
            <a:r>
              <a:rPr lang="en-GB" sz="2200" b="1" dirty="0">
                <a:solidFill>
                  <a:srgbClr val="002060"/>
                </a:solidFill>
              </a:rPr>
              <a:t>scientifically validated to outperform reach-based planning </a:t>
            </a:r>
            <a:r>
              <a:rPr lang="en-GB" sz="2200" b="1" u="sng" dirty="0">
                <a:solidFill>
                  <a:srgbClr val="002060"/>
                </a:solidFill>
              </a:rPr>
              <a:t>by more than 50%</a:t>
            </a:r>
          </a:p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endParaRPr lang="en-GB" sz="200" dirty="0">
              <a:solidFill>
                <a:srgbClr val="002060"/>
              </a:solidFill>
            </a:endParaRPr>
          </a:p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002060"/>
                </a:solidFill>
              </a:rPr>
              <a:t>A </a:t>
            </a:r>
            <a:r>
              <a:rPr lang="en-GB" sz="2200" b="1" dirty="0">
                <a:solidFill>
                  <a:srgbClr val="002060"/>
                </a:solidFill>
              </a:rPr>
              <a:t>practical</a:t>
            </a:r>
            <a:r>
              <a:rPr lang="en-GB" sz="2200" dirty="0">
                <a:solidFill>
                  <a:srgbClr val="002060"/>
                </a:solidFill>
              </a:rPr>
              <a:t> approach to identify, quantify and </a:t>
            </a:r>
            <a:r>
              <a:rPr lang="en-GB" sz="2200" b="1" dirty="0">
                <a:solidFill>
                  <a:srgbClr val="002060"/>
                </a:solidFill>
              </a:rPr>
              <a:t>target the most responsive audience</a:t>
            </a:r>
            <a:r>
              <a:rPr lang="en-GB" sz="2200" dirty="0">
                <a:solidFill>
                  <a:srgbClr val="002060"/>
                </a:solidFill>
              </a:rPr>
              <a:t> for any brand</a:t>
            </a:r>
          </a:p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endParaRPr lang="en-GB" sz="200" dirty="0">
              <a:solidFill>
                <a:srgbClr val="002060"/>
              </a:solidFill>
            </a:endParaRPr>
          </a:p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002060"/>
                </a:solidFill>
              </a:rPr>
              <a:t>A </a:t>
            </a:r>
            <a:r>
              <a:rPr lang="en-GB" sz="2200" b="1" dirty="0">
                <a:solidFill>
                  <a:srgbClr val="002060"/>
                </a:solidFill>
              </a:rPr>
              <a:t>profitable strategy to win over non-buyers </a:t>
            </a:r>
            <a:r>
              <a:rPr lang="en-GB" sz="2200" dirty="0">
                <a:solidFill>
                  <a:srgbClr val="002060"/>
                </a:solidFill>
              </a:rPr>
              <a:t>who are more likely to respond and build for the future of the bran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3E4C7A-6F44-4FFD-A216-EA2549728949}"/>
              </a:ext>
            </a:extLst>
          </p:cNvPr>
          <p:cNvSpPr/>
          <p:nvPr/>
        </p:nvSpPr>
        <p:spPr>
          <a:xfrm>
            <a:off x="0" y="-30669"/>
            <a:ext cx="12191991" cy="1161816"/>
          </a:xfrm>
          <a:prstGeom prst="rect">
            <a:avLst/>
          </a:prstGeom>
          <a:solidFill>
            <a:srgbClr val="0E1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 descr="A picture containing dark, sitting, black, red&#10;&#10;Description automatically generated">
            <a:extLst>
              <a:ext uri="{FF2B5EF4-FFF2-40B4-BE49-F238E27FC236}">
                <a16:creationId xmlns:a16="http://schemas.microsoft.com/office/drawing/2014/main" id="{F8CA362C-A015-4622-BB28-5D8D24251D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536" y="94832"/>
            <a:ext cx="1819744" cy="91081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98F49A03-8051-4731-BBC3-727B84E82AE6}"/>
              </a:ext>
            </a:extLst>
          </p:cNvPr>
          <p:cNvSpPr txBox="1"/>
          <p:nvPr/>
        </p:nvSpPr>
        <p:spPr>
          <a:xfrm>
            <a:off x="2113280" y="288629"/>
            <a:ext cx="7321973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H" sz="3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come-Based Marketing 2.0 (OBM2)</a:t>
            </a:r>
            <a:endParaRPr kumimoji="0" lang="en-PH" sz="3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1D742E-D5B8-4FB4-81C6-4FA92C6F812C}"/>
              </a:ext>
            </a:extLst>
          </p:cNvPr>
          <p:cNvSpPr txBox="1"/>
          <p:nvPr/>
        </p:nvSpPr>
        <p:spPr>
          <a:xfrm>
            <a:off x="161535" y="1199443"/>
            <a:ext cx="943627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H" sz="3400" b="1" i="0" u="none" strike="noStrike" kern="1200" cap="none" spc="0" normalizeH="0" baseline="0" noProof="0" dirty="0">
                <a:ln>
                  <a:noFill/>
                </a:ln>
                <a:solidFill>
                  <a:srgbClr val="432F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table Growth by Targeting The Movable Middle</a:t>
            </a:r>
            <a:endParaRPr kumimoji="0" lang="en-PH" sz="3400" i="0" u="none" strike="noStrike" kern="1200" cap="none" spc="0" normalizeH="0" baseline="0" noProof="0" dirty="0">
              <a:ln>
                <a:noFill/>
              </a:ln>
              <a:solidFill>
                <a:srgbClr val="432F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B8A769-005D-4004-B4D4-25C50C75837F}"/>
              </a:ext>
            </a:extLst>
          </p:cNvPr>
          <p:cNvSpPr/>
          <p:nvPr/>
        </p:nvSpPr>
        <p:spPr>
          <a:xfrm>
            <a:off x="293536" y="4674632"/>
            <a:ext cx="4007531" cy="10404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28EF882-CE28-481A-8FF1-7DE113F60838}"/>
              </a:ext>
            </a:extLst>
          </p:cNvPr>
          <p:cNvSpPr/>
          <p:nvPr/>
        </p:nvSpPr>
        <p:spPr>
          <a:xfrm>
            <a:off x="4578773" y="4674631"/>
            <a:ext cx="4007531" cy="10404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0F4BA9-C4A5-4B3D-B48F-D95481AD19C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85" y="4475465"/>
            <a:ext cx="1369748" cy="13697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DA73551-CCF6-498F-9C45-0747D5274BA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536" y="4672512"/>
            <a:ext cx="1040413" cy="1040413"/>
          </a:xfrm>
          <a:prstGeom prst="rect">
            <a:avLst/>
          </a:prstGeom>
        </p:spPr>
      </p:pic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F3FE4DE-D220-41BF-AB3D-3A53F0C60BB1}"/>
              </a:ext>
            </a:extLst>
          </p:cNvPr>
          <p:cNvSpPr txBox="1">
            <a:spLocks/>
          </p:cNvSpPr>
          <p:nvPr/>
        </p:nvSpPr>
        <p:spPr>
          <a:xfrm>
            <a:off x="1203408" y="4721954"/>
            <a:ext cx="3097659" cy="9551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000" b="1" dirty="0">
                <a:solidFill>
                  <a:srgbClr val="002060"/>
                </a:solidFill>
              </a:rPr>
              <a:t>Learn More &amp; Download Whitepaper*</a:t>
            </a:r>
            <a:br>
              <a:rPr lang="en-GB" sz="2000" b="1" dirty="0">
                <a:solidFill>
                  <a:srgbClr val="002060"/>
                </a:solidFill>
              </a:rPr>
            </a:br>
            <a:r>
              <a:rPr lang="en-GB" sz="2000" dirty="0">
                <a:solidFill>
                  <a:srgbClr val="002060"/>
                </a:solidFill>
              </a:rPr>
              <a:t>mmaglobal.com/OBM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5E543F22-2F2A-408D-B0AF-39AA57F9CB68}"/>
              </a:ext>
            </a:extLst>
          </p:cNvPr>
          <p:cNvSpPr txBox="1">
            <a:spLocks/>
          </p:cNvSpPr>
          <p:nvPr/>
        </p:nvSpPr>
        <p:spPr>
          <a:xfrm>
            <a:off x="5627499" y="4715153"/>
            <a:ext cx="2958806" cy="9551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000" b="1" dirty="0">
                <a:solidFill>
                  <a:srgbClr val="002060"/>
                </a:solidFill>
              </a:rPr>
              <a:t>Get Involved &amp; Join the OBM2 Community</a:t>
            </a:r>
            <a:br>
              <a:rPr lang="en-GB" sz="2000" b="1" dirty="0">
                <a:solidFill>
                  <a:srgbClr val="002060"/>
                </a:solidFill>
              </a:rPr>
            </a:br>
            <a:r>
              <a:rPr lang="en-GB" sz="2000" dirty="0">
                <a:solidFill>
                  <a:srgbClr val="002060"/>
                </a:solidFill>
              </a:rPr>
              <a:t>OBM@mmaglobal.com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E30A099-DB05-4798-8751-404808C5BB9F}"/>
              </a:ext>
            </a:extLst>
          </p:cNvPr>
          <p:cNvSpPr txBox="1">
            <a:spLocks/>
          </p:cNvSpPr>
          <p:nvPr/>
        </p:nvSpPr>
        <p:spPr>
          <a:xfrm>
            <a:off x="796231" y="6467081"/>
            <a:ext cx="1847994" cy="38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0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8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IN" sz="18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73D97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cademic Advisors</a:t>
            </a:r>
          </a:p>
        </p:txBody>
      </p:sp>
      <p:pic>
        <p:nvPicPr>
          <p:cNvPr id="44" name="Picture 43" descr="A picture containing food&#10;&#10;Description automatically generated">
            <a:extLst>
              <a:ext uri="{FF2B5EF4-FFF2-40B4-BE49-F238E27FC236}">
                <a16:creationId xmlns:a16="http://schemas.microsoft.com/office/drawing/2014/main" id="{E6F40927-F1A3-401E-9E46-A880AD0405E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2999" y="6110170"/>
            <a:ext cx="1376257" cy="322437"/>
          </a:xfrm>
          <a:prstGeom prst="rect">
            <a:avLst/>
          </a:prstGeom>
        </p:spPr>
      </p:pic>
      <p:pic>
        <p:nvPicPr>
          <p:cNvPr id="42" name="Picture 41" descr="Logo&#10;&#10;Description automatically generated">
            <a:extLst>
              <a:ext uri="{FF2B5EF4-FFF2-40B4-BE49-F238E27FC236}">
                <a16:creationId xmlns:a16="http://schemas.microsoft.com/office/drawing/2014/main" id="{331EBFFD-731D-4F03-A09E-B118109D281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2589" y="5930505"/>
            <a:ext cx="708697" cy="583834"/>
          </a:xfrm>
          <a:prstGeom prst="rect">
            <a:avLst/>
          </a:prstGeom>
        </p:spPr>
      </p:pic>
      <p:pic>
        <p:nvPicPr>
          <p:cNvPr id="39" name="Picture 38" descr="Logo&#10;&#10;Description automatically generated">
            <a:extLst>
              <a:ext uri="{FF2B5EF4-FFF2-40B4-BE49-F238E27FC236}">
                <a16:creationId xmlns:a16="http://schemas.microsoft.com/office/drawing/2014/main" id="{2DE24DCB-7A33-470B-A468-56B71C7C1B4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2455" y="5994173"/>
            <a:ext cx="1595402" cy="368310"/>
          </a:xfrm>
          <a:prstGeom prst="rect">
            <a:avLst/>
          </a:prstGeom>
        </p:spPr>
      </p:pic>
      <p:pic>
        <p:nvPicPr>
          <p:cNvPr id="36" name="Picture 35" descr="A picture containing logo&#10;&#10;Description automatically generated">
            <a:extLst>
              <a:ext uri="{FF2B5EF4-FFF2-40B4-BE49-F238E27FC236}">
                <a16:creationId xmlns:a16="http://schemas.microsoft.com/office/drawing/2014/main" id="{7C4E1F05-9159-45B7-A780-4A88EB08435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2099" y="6088905"/>
            <a:ext cx="1484863" cy="378176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0497C1D7-0D71-4E44-AFE4-B9DFEAF0B8F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152" y="5990704"/>
            <a:ext cx="1262382" cy="479416"/>
          </a:xfrm>
          <a:prstGeom prst="rect">
            <a:avLst/>
          </a:prstGeom>
        </p:spPr>
      </p:pic>
      <p:pic>
        <p:nvPicPr>
          <p:cNvPr id="56" name="Picture 55" descr="A picture containing logo&#10;&#10;Description automatically generated">
            <a:extLst>
              <a:ext uri="{FF2B5EF4-FFF2-40B4-BE49-F238E27FC236}">
                <a16:creationId xmlns:a16="http://schemas.microsoft.com/office/drawing/2014/main" id="{63CCEC71-0B9F-4CEE-ABCF-533D89A6CE6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6331" y="5929065"/>
            <a:ext cx="1804554" cy="602693"/>
          </a:xfrm>
          <a:prstGeom prst="rect">
            <a:avLst/>
          </a:prstGeom>
        </p:spPr>
      </p:pic>
      <p:pic>
        <p:nvPicPr>
          <p:cNvPr id="65" name="Picture 64" descr="Logo&#10;&#10;Description automatically generated">
            <a:extLst>
              <a:ext uri="{FF2B5EF4-FFF2-40B4-BE49-F238E27FC236}">
                <a16:creationId xmlns:a16="http://schemas.microsoft.com/office/drawing/2014/main" id="{AD2D89B9-073A-4C1B-AA96-F152B5869FB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77445" y="5747492"/>
            <a:ext cx="1784230" cy="807277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EF41A9DD-25B6-45D6-9E9F-162C1E42CC0F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943" b="27558"/>
          <a:stretch/>
        </p:blipFill>
        <p:spPr>
          <a:xfrm>
            <a:off x="9973585" y="226720"/>
            <a:ext cx="1819743" cy="736971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749B427-A2A6-4060-8088-3E8C564E7191}"/>
              </a:ext>
            </a:extLst>
          </p:cNvPr>
          <p:cNvCxnSpPr>
            <a:cxnSpLocks/>
          </p:cNvCxnSpPr>
          <p:nvPr/>
        </p:nvCxnSpPr>
        <p:spPr>
          <a:xfrm>
            <a:off x="3432638" y="6651779"/>
            <a:ext cx="6205816" cy="9829"/>
          </a:xfrm>
          <a:prstGeom prst="line">
            <a:avLst/>
          </a:prstGeom>
          <a:ln w="38100">
            <a:solidFill>
              <a:srgbClr val="873D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Content Placeholder 3">
            <a:extLst>
              <a:ext uri="{FF2B5EF4-FFF2-40B4-BE49-F238E27FC236}">
                <a16:creationId xmlns:a16="http://schemas.microsoft.com/office/drawing/2014/main" id="{5D8C211F-79F1-4B07-A0A4-48533708F5D7}"/>
              </a:ext>
            </a:extLst>
          </p:cNvPr>
          <p:cNvSpPr txBox="1">
            <a:spLocks/>
          </p:cNvSpPr>
          <p:nvPr/>
        </p:nvSpPr>
        <p:spPr>
          <a:xfrm>
            <a:off x="5599208" y="6468946"/>
            <a:ext cx="1760448" cy="38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0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8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IN" sz="18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73D97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rketer Advisors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C7EFDFBF-C803-42E9-9D7A-2CD0D6148B93}"/>
              </a:ext>
            </a:extLst>
          </p:cNvPr>
          <p:cNvCxnSpPr>
            <a:cxnSpLocks/>
          </p:cNvCxnSpPr>
          <p:nvPr/>
        </p:nvCxnSpPr>
        <p:spPr>
          <a:xfrm>
            <a:off x="9850509" y="6658552"/>
            <a:ext cx="2080835" cy="0"/>
          </a:xfrm>
          <a:prstGeom prst="line">
            <a:avLst/>
          </a:prstGeom>
          <a:ln w="38100">
            <a:solidFill>
              <a:srgbClr val="873D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 Placeholder 3">
            <a:extLst>
              <a:ext uri="{FF2B5EF4-FFF2-40B4-BE49-F238E27FC236}">
                <a16:creationId xmlns:a16="http://schemas.microsoft.com/office/drawing/2014/main" id="{4A763873-8C47-4A26-BB04-ADFD1CD994A6}"/>
              </a:ext>
            </a:extLst>
          </p:cNvPr>
          <p:cNvSpPr txBox="1">
            <a:spLocks/>
          </p:cNvSpPr>
          <p:nvPr/>
        </p:nvSpPr>
        <p:spPr>
          <a:xfrm>
            <a:off x="10234509" y="6462173"/>
            <a:ext cx="1295782" cy="38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0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8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IN" sz="18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73D97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ata Partn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E0F2C438-9C4D-4361-BD32-8514342CC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6183" y="1906494"/>
            <a:ext cx="2982500" cy="387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7285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0AC8F97-A526-4C31-BD9A-5D3C30FDC6B8}"/>
              </a:ext>
            </a:extLst>
          </p:cNvPr>
          <p:cNvSpPr/>
          <p:nvPr/>
        </p:nvSpPr>
        <p:spPr>
          <a:xfrm>
            <a:off x="-13" y="1203002"/>
            <a:ext cx="12185644" cy="5753383"/>
          </a:xfrm>
          <a:prstGeom prst="rect">
            <a:avLst/>
          </a:prstGeom>
          <a:solidFill>
            <a:srgbClr val="0E1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PH" sz="1799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1" name="Picture 20" descr="A picture containing bird&#10;&#10;Description automatically generated">
            <a:extLst>
              <a:ext uri="{FF2B5EF4-FFF2-40B4-BE49-F238E27FC236}">
                <a16:creationId xmlns:a16="http://schemas.microsoft.com/office/drawing/2014/main" id="{5218D03A-6410-4CCE-8C84-55F3E6E370E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" t="21933" r="967" b="26480"/>
          <a:stretch/>
        </p:blipFill>
        <p:spPr>
          <a:xfrm>
            <a:off x="-13" y="6210"/>
            <a:ext cx="12185653" cy="1256613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98F49A03-8051-4731-BBC3-727B84E82AE6}"/>
              </a:ext>
            </a:extLst>
          </p:cNvPr>
          <p:cNvSpPr txBox="1"/>
          <p:nvPr/>
        </p:nvSpPr>
        <p:spPr>
          <a:xfrm>
            <a:off x="236696" y="354703"/>
            <a:ext cx="9431365" cy="5229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PH" sz="3398" b="1" dirty="0">
                <a:solidFill>
                  <a:srgbClr val="432F91"/>
                </a:solidFill>
                <a:latin typeface="Calibri" panose="020F0502020204030204"/>
              </a:rPr>
              <a:t>A Year’s Worth of Insights &amp; Education</a:t>
            </a:r>
            <a:endParaRPr lang="en-PH" sz="1399" dirty="0">
              <a:solidFill>
                <a:srgbClr val="432F91"/>
              </a:solidFill>
              <a:latin typeface="Calibri" panose="020F050202020403020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82D3A9-5BA3-4CE0-9243-69F12DCD5241}"/>
              </a:ext>
            </a:extLst>
          </p:cNvPr>
          <p:cNvSpPr txBox="1"/>
          <p:nvPr/>
        </p:nvSpPr>
        <p:spPr>
          <a:xfrm>
            <a:off x="7647796" y="478690"/>
            <a:ext cx="4373096" cy="246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PH" sz="1599" dirty="0">
                <a:solidFill>
                  <a:srgbClr val="432F91"/>
                </a:solidFill>
                <a:latin typeface="Calibri" panose="020F0502020204030204"/>
              </a:rPr>
              <a:t>Events designed to </a:t>
            </a:r>
            <a:r>
              <a:rPr lang="en-PH" sz="1599" b="1" dirty="0">
                <a:solidFill>
                  <a:srgbClr val="432F91"/>
                </a:solidFill>
                <a:latin typeface="Calibri" panose="020F0502020204030204"/>
              </a:rPr>
              <a:t>#ShapeTheFuture </a:t>
            </a:r>
            <a:r>
              <a:rPr lang="en-PH" sz="1599" dirty="0">
                <a:solidFill>
                  <a:srgbClr val="432F91"/>
                </a:solidFill>
                <a:latin typeface="Calibri" panose="020F0502020204030204"/>
              </a:rPr>
              <a:t>of marketing: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4FEBDAD-7BE4-43A0-84F3-0C8B1D0C5D68}"/>
              </a:ext>
            </a:extLst>
          </p:cNvPr>
          <p:cNvSpPr txBox="1"/>
          <p:nvPr/>
        </p:nvSpPr>
        <p:spPr>
          <a:xfrm>
            <a:off x="8187627" y="1730461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Deep dive into the future of attribution.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5E4404A-B0B7-4B36-AFDE-830FF2DC2E33}"/>
              </a:ext>
            </a:extLst>
          </p:cNvPr>
          <p:cNvCxnSpPr/>
          <p:nvPr/>
        </p:nvCxnSpPr>
        <p:spPr>
          <a:xfrm>
            <a:off x="406642" y="2368482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041B383-3C83-4896-A1E5-06F2A0B8BCD6}"/>
              </a:ext>
            </a:extLst>
          </p:cNvPr>
          <p:cNvCxnSpPr/>
          <p:nvPr/>
        </p:nvCxnSpPr>
        <p:spPr>
          <a:xfrm>
            <a:off x="290012" y="3274062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4CDBF12-02FD-4464-ABF5-718855F33E32}"/>
              </a:ext>
            </a:extLst>
          </p:cNvPr>
          <p:cNvCxnSpPr/>
          <p:nvPr/>
        </p:nvCxnSpPr>
        <p:spPr>
          <a:xfrm>
            <a:off x="294435" y="4136559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52917F7F-D21D-461A-9A36-BEC9B5A55850}"/>
              </a:ext>
            </a:extLst>
          </p:cNvPr>
          <p:cNvSpPr txBox="1"/>
          <p:nvPr/>
        </p:nvSpPr>
        <p:spPr>
          <a:xfrm>
            <a:off x="8390974" y="3407212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An invitation-only intimate gathering of industry thought leaders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4F9F5EE-6146-4CE5-A14B-29B5F676AC5B}"/>
              </a:ext>
            </a:extLst>
          </p:cNvPr>
          <p:cNvSpPr txBox="1"/>
          <p:nvPr/>
        </p:nvSpPr>
        <p:spPr>
          <a:xfrm>
            <a:off x="8466398" y="4264214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Event for data geeks or wannabe marketing data geeks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1820FE-0D5D-41DF-B8E5-F98BEC44C0C5}"/>
              </a:ext>
            </a:extLst>
          </p:cNvPr>
          <p:cNvSpPr txBox="1"/>
          <p:nvPr/>
        </p:nvSpPr>
        <p:spPr>
          <a:xfrm>
            <a:off x="8390974" y="5094678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Deep dive into marketing organization insights and knowledge.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142A625-5ED8-42C6-9363-2506FDB2568C}"/>
              </a:ext>
            </a:extLst>
          </p:cNvPr>
          <p:cNvCxnSpPr/>
          <p:nvPr/>
        </p:nvCxnSpPr>
        <p:spPr>
          <a:xfrm>
            <a:off x="361479" y="4968665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129A3EFD-166E-45D5-8987-36CA54D05619}"/>
              </a:ext>
            </a:extLst>
          </p:cNvPr>
          <p:cNvSpPr txBox="1"/>
          <p:nvPr/>
        </p:nvSpPr>
        <p:spPr>
          <a:xfrm>
            <a:off x="8390974" y="5957273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Deep dive into the future of innovation &amp; creative effectiveness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B47D9A-6E48-4757-B823-E05FB2EBB364}"/>
              </a:ext>
            </a:extLst>
          </p:cNvPr>
          <p:cNvSpPr txBox="1"/>
          <p:nvPr/>
        </p:nvSpPr>
        <p:spPr>
          <a:xfrm>
            <a:off x="8360380" y="723842"/>
            <a:ext cx="2615362" cy="3076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PH" sz="1999" b="1" dirty="0">
                <a:solidFill>
                  <a:srgbClr val="432F91"/>
                </a:solidFill>
                <a:latin typeface="Calibri" panose="020F0502020204030204"/>
              </a:rPr>
              <a:t>mmaglobal.com/event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568C54-99AA-2C47-9D60-2CA2CB409C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322" y="1597145"/>
            <a:ext cx="6660463" cy="74588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28DD0D4-107A-6E4E-93AB-36FB45AE6437}"/>
              </a:ext>
            </a:extLst>
          </p:cNvPr>
          <p:cNvCxnSpPr/>
          <p:nvPr/>
        </p:nvCxnSpPr>
        <p:spPr>
          <a:xfrm>
            <a:off x="429957" y="5858703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625210B5-B166-774C-822B-97C5A979B5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278" y="2459735"/>
            <a:ext cx="7955349" cy="7069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C55775-D14D-204D-8CE5-87DCD0B108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59" y="3295669"/>
            <a:ext cx="6275257" cy="752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E1BF463-0200-D043-8F1C-9DB33932F5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278" y="4189197"/>
            <a:ext cx="6275258" cy="7027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3DE7D1C-BFB3-1947-84A6-D285112976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322" y="4994841"/>
            <a:ext cx="6619461" cy="7320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E2AF9E1-A654-A04A-BDB8-5459564AB2E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90" y="5857529"/>
            <a:ext cx="7182181" cy="724340"/>
          </a:xfrm>
          <a:prstGeom prst="rect">
            <a:avLst/>
          </a:prstGeom>
        </p:spPr>
      </p:pic>
      <p:sp>
        <p:nvSpPr>
          <p:cNvPr id="41" name="object 45">
            <a:extLst>
              <a:ext uri="{FF2B5EF4-FFF2-40B4-BE49-F238E27FC236}">
                <a16:creationId xmlns:a16="http://schemas.microsoft.com/office/drawing/2014/main" id="{40CE28F5-6162-E44A-A2D8-9AB13F50AB15}"/>
              </a:ext>
            </a:extLst>
          </p:cNvPr>
          <p:cNvSpPr txBox="1"/>
          <p:nvPr/>
        </p:nvSpPr>
        <p:spPr>
          <a:xfrm>
            <a:off x="7712707" y="2407802"/>
            <a:ext cx="4661323" cy="775386"/>
          </a:xfrm>
          <a:prstGeom prst="rect">
            <a:avLst/>
          </a:prstGeom>
        </p:spPr>
        <p:txBody>
          <a:bodyPr vert="horz" wrap="square" lIns="0" tIns="12059" rIns="0" bIns="0" rtlCol="0">
            <a:spAutoFit/>
          </a:bodyPr>
          <a:lstStyle/>
          <a:p>
            <a:pPr marL="12694" marR="5077" indent="-635" algn="ctr">
              <a:lnSpc>
                <a:spcPct val="101299"/>
              </a:lnSpc>
              <a:spcBef>
                <a:spcPts val="95"/>
              </a:spcBef>
            </a:pPr>
            <a:r>
              <a:rPr sz="1599" b="1" spc="5" dirty="0">
                <a:solidFill>
                  <a:srgbClr val="FFFFFF"/>
                </a:solidFill>
                <a:latin typeface="Gotham"/>
                <a:cs typeface="Gotham"/>
              </a:rPr>
              <a:t>Connected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5" dirty="0">
                <a:solidFill>
                  <a:srgbClr val="FFFFFF"/>
                </a:solidFill>
                <a:latin typeface="Gotham"/>
                <a:cs typeface="Gotham"/>
              </a:rPr>
              <a:t>TV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dirty="0">
                <a:solidFill>
                  <a:srgbClr val="FFFFFF"/>
                </a:solidFill>
                <a:latin typeface="Gotham"/>
                <a:cs typeface="Gotham"/>
              </a:rPr>
              <a:t>is</a:t>
            </a:r>
            <a:r>
              <a:rPr lang="en-US" sz="1599" b="1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15" dirty="0">
                <a:solidFill>
                  <a:srgbClr val="FFFFFF"/>
                </a:solidFill>
                <a:latin typeface="Gotham"/>
                <a:cs typeface="Gotham"/>
              </a:rPr>
              <a:t>at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dirty="0">
                <a:solidFill>
                  <a:srgbClr val="FFFFFF"/>
                </a:solidFill>
                <a:latin typeface="Gotham"/>
                <a:cs typeface="Gotham"/>
              </a:rPr>
              <a:t>a </a:t>
            </a:r>
            <a:r>
              <a:rPr sz="1599" b="1" spc="5" dirty="0">
                <a:solidFill>
                  <a:srgbClr val="FFFFFF"/>
                </a:solidFill>
                <a:latin typeface="Gotham"/>
                <a:cs typeface="Gotham"/>
              </a:rPr>
              <a:t> tipping</a:t>
            </a:r>
            <a:r>
              <a:rPr sz="1599" b="1" spc="25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5" dirty="0">
                <a:solidFill>
                  <a:srgbClr val="FFFFFF"/>
                </a:solidFill>
                <a:latin typeface="Gotham"/>
                <a:cs typeface="Gotham"/>
              </a:rPr>
              <a:t>point</a:t>
            </a:r>
            <a:r>
              <a:rPr sz="1599" b="1" spc="25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lang="en-US" sz="1599" b="1" spc="10" dirty="0">
                <a:solidFill>
                  <a:srgbClr val="FFFFFF"/>
                </a:solidFill>
                <a:latin typeface="Gotham"/>
                <a:cs typeface="Gotham"/>
              </a:rPr>
              <a:t>–</a:t>
            </a:r>
            <a:r>
              <a:rPr sz="1599" b="1" spc="25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endParaRPr lang="en-US" sz="1599" b="1" spc="25" dirty="0">
              <a:solidFill>
                <a:srgbClr val="FFFFFF"/>
              </a:solidFill>
              <a:latin typeface="Gotham"/>
              <a:cs typeface="Gotham"/>
            </a:endParaRPr>
          </a:p>
          <a:p>
            <a:pPr marL="12694" marR="5077" indent="-635" algn="ctr">
              <a:lnSpc>
                <a:spcPct val="101299"/>
              </a:lnSpc>
              <a:spcBef>
                <a:spcPts val="95"/>
              </a:spcBef>
            </a:pPr>
            <a:r>
              <a:rPr sz="1599" b="1" spc="-15" dirty="0">
                <a:solidFill>
                  <a:srgbClr val="FFFFFF"/>
                </a:solidFill>
                <a:latin typeface="Gotham"/>
                <a:cs typeface="Gotham"/>
              </a:rPr>
              <a:t>discover </a:t>
            </a:r>
            <a:r>
              <a:rPr sz="1599" b="1" spc="-5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5" dirty="0">
                <a:solidFill>
                  <a:srgbClr val="FFFFFF"/>
                </a:solidFill>
                <a:latin typeface="Gotham"/>
                <a:cs typeface="Gotham"/>
              </a:rPr>
              <a:t>how</a:t>
            </a:r>
            <a:r>
              <a:rPr sz="1599" b="1" spc="35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15" dirty="0">
                <a:solidFill>
                  <a:srgbClr val="FFFFFF"/>
                </a:solidFill>
                <a:latin typeface="Gotham"/>
                <a:cs typeface="Gotham"/>
              </a:rPr>
              <a:t>to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10" dirty="0">
                <a:solidFill>
                  <a:srgbClr val="FFFFFF"/>
                </a:solidFill>
                <a:latin typeface="Gotham"/>
                <a:cs typeface="Gotham"/>
              </a:rPr>
              <a:t>add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5" dirty="0">
                <a:solidFill>
                  <a:srgbClr val="FFFFFF"/>
                </a:solidFill>
                <a:latin typeface="Gotham"/>
                <a:cs typeface="Gotham"/>
              </a:rPr>
              <a:t>it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5" dirty="0">
                <a:solidFill>
                  <a:srgbClr val="FFFFFF"/>
                </a:solidFill>
                <a:latin typeface="Gotham"/>
                <a:cs typeface="Gotham"/>
              </a:rPr>
              <a:t>into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endParaRPr lang="en-US" sz="1599" b="1" spc="40" dirty="0">
              <a:solidFill>
                <a:srgbClr val="FFFFFF"/>
              </a:solidFill>
              <a:latin typeface="Gotham"/>
              <a:cs typeface="Gotham"/>
            </a:endParaRPr>
          </a:p>
          <a:p>
            <a:pPr marL="12694" marR="5077" indent="-635" algn="ctr">
              <a:lnSpc>
                <a:spcPct val="101299"/>
              </a:lnSpc>
              <a:spcBef>
                <a:spcPts val="95"/>
              </a:spcBef>
            </a:pPr>
            <a:r>
              <a:rPr sz="1599" b="1" spc="-25" dirty="0">
                <a:solidFill>
                  <a:srgbClr val="FFFFFF"/>
                </a:solidFill>
                <a:latin typeface="Gotham"/>
                <a:cs typeface="Gotham"/>
              </a:rPr>
              <a:t>your </a:t>
            </a:r>
            <a:r>
              <a:rPr sz="1599" b="1" spc="-2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15" dirty="0">
                <a:solidFill>
                  <a:srgbClr val="FFFFFF"/>
                </a:solidFill>
                <a:latin typeface="Gotham"/>
                <a:cs typeface="Gotham"/>
              </a:rPr>
              <a:t>next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5" dirty="0">
                <a:solidFill>
                  <a:srgbClr val="FFFFFF"/>
                </a:solidFill>
                <a:latin typeface="Gotham"/>
                <a:cs typeface="Gotham"/>
              </a:rPr>
              <a:t>campaign.</a:t>
            </a:r>
            <a:endParaRPr sz="1599" dirty="0">
              <a:latin typeface="Gotham"/>
              <a:cs typeface="Gotham"/>
            </a:endParaRPr>
          </a:p>
        </p:txBody>
      </p:sp>
    </p:spTree>
    <p:extLst>
      <p:ext uri="{BB962C8B-B14F-4D97-AF65-F5344CB8AC3E}">
        <p14:creationId xmlns:p14="http://schemas.microsoft.com/office/powerpoint/2010/main" val="190445359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A40AD2-824E-A74A-8B44-1A9DFF60E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CE38E-58D8-4BE4-9BFA-4B9096E5DB5D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51045A-270C-C042-847E-F23B75ACFB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30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95CDC4-79B2-8448-9B66-D6AB53E9AB38}"/>
              </a:ext>
            </a:extLst>
          </p:cNvPr>
          <p:cNvSpPr/>
          <p:nvPr/>
        </p:nvSpPr>
        <p:spPr>
          <a:xfrm>
            <a:off x="9" y="0"/>
            <a:ext cx="12191991" cy="1161816"/>
          </a:xfrm>
          <a:prstGeom prst="rect">
            <a:avLst/>
          </a:prstGeom>
          <a:solidFill>
            <a:srgbClr val="0E1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Logo&#10;&#10;Description automatically generated with medium confidence">
            <a:extLst>
              <a:ext uri="{FF2B5EF4-FFF2-40B4-BE49-F238E27FC236}">
                <a16:creationId xmlns:a16="http://schemas.microsoft.com/office/drawing/2014/main" id="{9C796BEB-EF39-4E4C-ACB5-A9D2309FE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42" y="-90663"/>
            <a:ext cx="7937500" cy="1282700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6FABADAD-A92F-4648-B115-12CFD003A8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1611" y="341306"/>
            <a:ext cx="1404815" cy="57895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AF8841B-1296-FB4C-87D7-B899C1E940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1980" y="52264"/>
            <a:ext cx="1485900" cy="228600"/>
          </a:xfrm>
          <a:prstGeom prst="rect">
            <a:avLst/>
          </a:prstGeom>
        </p:spPr>
      </p:pic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A83DF824-66B8-9344-B60A-6283523D5A9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3656" y="166564"/>
            <a:ext cx="1863726" cy="981128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04687A0-68A1-3044-8C1C-324D0586321B}"/>
              </a:ext>
            </a:extLst>
          </p:cNvPr>
          <p:cNvSpPr/>
          <p:nvPr/>
        </p:nvSpPr>
        <p:spPr>
          <a:xfrm>
            <a:off x="860446" y="1175909"/>
            <a:ext cx="1021556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400" b="1" cap="all" dirty="0">
                <a:solidFill>
                  <a:srgbClr val="FFFFFF"/>
                </a:solidFill>
                <a:latin typeface="Gotham A" pitchFamily="2" charset="0"/>
              </a:rPr>
              <a:t>TURNING THE CUSTOMER EXPERIENCE (CX) INTO A COMPETITIVE ADVANTAGE</a:t>
            </a:r>
          </a:p>
          <a:p>
            <a:pPr algn="ctr">
              <a:defRPr/>
            </a:pPr>
            <a:endParaRPr lang="en-US" sz="2400" b="1" cap="all" dirty="0">
              <a:solidFill>
                <a:srgbClr val="FFFFFF"/>
              </a:solidFill>
              <a:latin typeface="Gotham A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A" pitchFamily="2" charset="0"/>
                <a:ea typeface="+mn-ea"/>
                <a:cs typeface="+mn-cs"/>
              </a:rPr>
              <a:t>JOIN THE FINAL SESSION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A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D0A37A-4092-D549-B317-6B1CFE149E04}"/>
              </a:ext>
            </a:extLst>
          </p:cNvPr>
          <p:cNvSpPr/>
          <p:nvPr/>
        </p:nvSpPr>
        <p:spPr>
          <a:xfrm>
            <a:off x="2565088" y="2369425"/>
            <a:ext cx="6439159" cy="4347291"/>
          </a:xfrm>
          <a:prstGeom prst="rect">
            <a:avLst/>
          </a:prstGeom>
          <a:solidFill>
            <a:srgbClr val="0D143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Graphic 27" descr="Cell Tower outline">
            <a:extLst>
              <a:ext uri="{FF2B5EF4-FFF2-40B4-BE49-F238E27FC236}">
                <a16:creationId xmlns:a16="http://schemas.microsoft.com/office/drawing/2014/main" id="{B00D6DF3-5B11-614A-9E63-A6427E8E26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60228" y="2627897"/>
            <a:ext cx="1248881" cy="980590"/>
          </a:xfrm>
          <a:prstGeom prst="rect">
            <a:avLst/>
          </a:prstGeom>
        </p:spPr>
      </p:pic>
      <p:pic>
        <p:nvPicPr>
          <p:cNvPr id="32" name="Graphic 31" descr="Flip calendar outline">
            <a:extLst>
              <a:ext uri="{FF2B5EF4-FFF2-40B4-BE49-F238E27FC236}">
                <a16:creationId xmlns:a16="http://schemas.microsoft.com/office/drawing/2014/main" id="{D4BC1007-0CCD-DF4A-A23E-F4C293345C5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04926" y="3607672"/>
            <a:ext cx="508057" cy="398914"/>
          </a:xfrm>
          <a:prstGeom prst="rect">
            <a:avLst/>
          </a:prstGeom>
        </p:spPr>
      </p:pic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9BAFA966-5725-314C-8FB6-B1D17C13C9A1}"/>
              </a:ext>
            </a:extLst>
          </p:cNvPr>
          <p:cNvSpPr/>
          <p:nvPr/>
        </p:nvSpPr>
        <p:spPr>
          <a:xfrm>
            <a:off x="4619492" y="5884346"/>
            <a:ext cx="2282668" cy="398914"/>
          </a:xfrm>
          <a:prstGeom prst="roundRect">
            <a:avLst/>
          </a:prstGeom>
          <a:solidFill>
            <a:srgbClr val="377EA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ISTER NOW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85AC71-DFE4-9E46-BC9B-CD57B96F22B8}"/>
              </a:ext>
            </a:extLst>
          </p:cNvPr>
          <p:cNvSpPr txBox="1"/>
          <p:nvPr/>
        </p:nvSpPr>
        <p:spPr>
          <a:xfrm>
            <a:off x="5676901" y="3656609"/>
            <a:ext cx="1225259" cy="3960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18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40BF91F-604C-224F-A772-18ABF5828F06}"/>
              </a:ext>
            </a:extLst>
          </p:cNvPr>
          <p:cNvSpPr txBox="1"/>
          <p:nvPr/>
        </p:nvSpPr>
        <p:spPr>
          <a:xfrm>
            <a:off x="3402957" y="4170246"/>
            <a:ext cx="495396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-BOOK" panose="02000504050000020004" pitchFamily="2" charset="0"/>
                <a:ea typeface="+mn-ea"/>
                <a:cs typeface="+mn-cs"/>
              </a:rPr>
              <a:t>The Future Of Messaging: How Companies Should Prepare for the Next Generation of Messag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-BOOK" panose="02000504050000020004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ch messaging will become a more critical part of the customer journey in the future….</a:t>
            </a:r>
          </a:p>
        </p:txBody>
      </p:sp>
    </p:spTree>
    <p:extLst>
      <p:ext uri="{BB962C8B-B14F-4D97-AF65-F5344CB8AC3E}">
        <p14:creationId xmlns:p14="http://schemas.microsoft.com/office/powerpoint/2010/main" val="22198185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12E25B-C3E9-E24A-AD57-505E45055E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PH" dirty="0">
                <a:cs typeface="Gotham Bold" pitchFamily="50" charset="0"/>
              </a:rPr>
              <a:t>Asking Questions, Sharing Insights</a:t>
            </a:r>
            <a:endParaRPr lang="en-P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D4B65E-9CB5-4749-A33D-2B992330EEEB}"/>
              </a:ext>
            </a:extLst>
          </p:cNvPr>
          <p:cNvSpPr txBox="1">
            <a:spLocks/>
          </p:cNvSpPr>
          <p:nvPr/>
        </p:nvSpPr>
        <p:spPr>
          <a:xfrm>
            <a:off x="5364481" y="6306902"/>
            <a:ext cx="6945708" cy="3960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B75B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#MMA   #</a:t>
            </a:r>
            <a:r>
              <a:rPr lang="en-US" sz="2400" dirty="0" err="1">
                <a:solidFill>
                  <a:schemeClr val="bg1"/>
                </a:solidFill>
              </a:rPr>
              <a:t>WeAreInItTogether</a:t>
            </a:r>
            <a:r>
              <a:rPr lang="en-US" sz="2400" dirty="0">
                <a:solidFill>
                  <a:schemeClr val="bg1"/>
                </a:solidFill>
              </a:rPr>
              <a:t>    #</a:t>
            </a:r>
            <a:r>
              <a:rPr lang="en-US" sz="2400" dirty="0" err="1">
                <a:solidFill>
                  <a:schemeClr val="bg1"/>
                </a:solidFill>
              </a:rPr>
              <a:t>ShapeTheFuture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204143DB-3941-0A4E-90FB-0B75D6491C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207" y="1965695"/>
            <a:ext cx="4224535" cy="1494124"/>
          </a:xfrm>
          <a:prstGeom prst="rect">
            <a:avLst/>
          </a:prstGeom>
          <a:effectLst>
            <a:outerShdw blurRad="368300" dist="50800" dir="5400000" sx="102000" sy="102000" algn="ctr" rotWithShape="0">
              <a:srgbClr val="000000">
                <a:alpha val="89000"/>
              </a:srgbClr>
            </a:outerShdw>
          </a:effectLst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DC805C2-6A4C-8146-84E9-4D4D2DF480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849818" flipH="1">
            <a:off x="4172018" y="5464475"/>
            <a:ext cx="1396055" cy="107115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E0CA129-A238-E14E-85FA-DFFEDC398226}"/>
              </a:ext>
            </a:extLst>
          </p:cNvPr>
          <p:cNvSpPr/>
          <p:nvPr/>
        </p:nvSpPr>
        <p:spPr>
          <a:xfrm rot="21226210">
            <a:off x="4604218" y="5405614"/>
            <a:ext cx="56778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b="1" dirty="0"/>
              <a:t>#</a:t>
            </a:r>
            <a:endParaRPr lang="en-PL" sz="6000" dirty="0"/>
          </a:p>
        </p:txBody>
      </p:sp>
    </p:spTree>
    <p:extLst>
      <p:ext uri="{BB962C8B-B14F-4D97-AF65-F5344CB8AC3E}">
        <p14:creationId xmlns:p14="http://schemas.microsoft.com/office/powerpoint/2010/main" val="2824578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oYAdAcQqG_KmhxYTnW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theme/theme1.xml><?xml version="1.0" encoding="utf-8"?>
<a:theme xmlns:a="http://schemas.openxmlformats.org/drawingml/2006/main" name="2_Office Theme">
  <a:themeElements>
    <a:clrScheme name="Custom 52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0072BA"/>
      </a:accent1>
      <a:accent2>
        <a:srgbClr val="F37021"/>
      </a:accent2>
      <a:accent3>
        <a:srgbClr val="58595B"/>
      </a:accent3>
      <a:accent4>
        <a:srgbClr val="06798D"/>
      </a:accent4>
      <a:accent5>
        <a:srgbClr val="700056"/>
      </a:accent5>
      <a:accent6>
        <a:srgbClr val="BE1D2C"/>
      </a:accent6>
      <a:hlink>
        <a:srgbClr val="0563C1"/>
      </a:hlink>
      <a:folHlink>
        <a:srgbClr val="F37021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58595B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>
        <a:noAutofit/>
      </a:bodyPr>
      <a:lstStyle>
        <a:defPPr marL="457200" indent="-457200">
          <a:spcBef>
            <a:spcPts val="587"/>
          </a:spcBef>
          <a:buSzPct val="100000"/>
          <a:buBlip>
            <a:blip xmlns:r="http://schemas.openxmlformats.org/officeDocument/2006/relationships" r:embed="rId1"/>
          </a:buBlip>
          <a:defRPr sz="2800" dirty="0" err="1" smtClean="0">
            <a:solidFill>
              <a:schemeClr val="bg2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Arial" id="{1A4DA36A-8F0F-7E4A-B00D-DA1BD81F28CD}" vid="{449138CC-BE08-C448-8CE4-98E7BCFE6AE4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Arial" id="{1A4DA36A-8F0F-7E4A-B00D-DA1BD81F28CD}" vid="{449138CC-BE08-C448-8CE4-98E7BCFE6AE4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Arial" id="{1A4DA36A-8F0F-7E4A-B00D-DA1BD81F28CD}" vid="{C70800EF-75D1-A541-A034-3E6BB83D0CD2}"/>
    </a:ext>
  </a:extLst>
</a:theme>
</file>

<file path=ppt/theme/theme4.xml><?xml version="1.0" encoding="utf-8"?>
<a:theme xmlns:a="http://schemas.openxmlformats.org/drawingml/2006/main" name="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5.xml><?xml version="1.0" encoding="utf-8"?>
<a:theme xmlns:a="http://schemas.openxmlformats.org/drawingml/2006/main" name="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D33E200D-9260-B64E-B6F1-29276819CA4F}"/>
    </a:ext>
  </a:extLst>
</a:theme>
</file>

<file path=ppt/theme/theme6.xml><?xml version="1.0" encoding="utf-8"?>
<a:theme xmlns:a="http://schemas.openxmlformats.org/drawingml/2006/main" name="1_gry_background_2017">
  <a:themeElements>
    <a:clrScheme name="Custom 4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BB8EFF"/>
      </a:accent4>
      <a:accent5>
        <a:srgbClr val="6E177D"/>
      </a:accent5>
      <a:accent6>
        <a:srgbClr val="20D5D2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atson_presentation_template" id="{3596A0D1-ED97-224C-9AC3-B3B1AFFC03F1}" vid="{6953F3BD-CE26-1C45-A1F7-4E573E5A752B}"/>
    </a:ext>
  </a:extLst>
</a:theme>
</file>

<file path=ppt/theme/theme7.xml><?xml version="1.0" encoding="utf-8"?>
<a:theme xmlns:a="http://schemas.openxmlformats.org/drawingml/2006/main" name="2_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82</TotalTime>
  <Words>629</Words>
  <Application>Microsoft Macintosh PowerPoint</Application>
  <PresentationFormat>Widescreen</PresentationFormat>
  <Paragraphs>121</Paragraphs>
  <Slides>1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6" baseType="lpstr">
      <vt:lpstr>.AppleSystemUIFont</vt:lpstr>
      <vt:lpstr>Arial</vt:lpstr>
      <vt:lpstr>Calibri</vt:lpstr>
      <vt:lpstr>Calibri Light</vt:lpstr>
      <vt:lpstr>Gotham</vt:lpstr>
      <vt:lpstr>Gotham A</vt:lpstr>
      <vt:lpstr>GOTHAM-BOOK</vt:lpstr>
      <vt:lpstr>HelvNeue Light for IBM</vt:lpstr>
      <vt:lpstr>IBM Plex Sans</vt:lpstr>
      <vt:lpstr>Wingdings</vt:lpstr>
      <vt:lpstr>2_Office Theme</vt:lpstr>
      <vt:lpstr>IBM 2019 Master template (black background)</vt:lpstr>
      <vt:lpstr>IBM 2019 Master template (light gray background)</vt:lpstr>
      <vt:lpstr>gry_background_2017</vt:lpstr>
      <vt:lpstr>wht_background_2017</vt:lpstr>
      <vt:lpstr>1_gry_background_2017</vt:lpstr>
      <vt:lpstr>2_gry_background_2017</vt:lpstr>
      <vt:lpstr>Office Theme</vt:lpstr>
      <vt:lpstr>1_Office Theme</vt:lpstr>
      <vt:lpstr>1_IBM 2019 Master template (black background)</vt:lpstr>
      <vt:lpstr>think-cell Slide</vt:lpstr>
      <vt:lpstr>PowerPoint Presentation</vt:lpstr>
      <vt:lpstr>MMA is the Global Industry Association for Marketing</vt:lpstr>
      <vt:lpstr>MMA Is 800+ Members Strong MARKETERS, AGENCIES, MEDIA SELLERS, TECHNOLOGY &amp; SOLUTION PROVIDERS</vt:lpstr>
      <vt:lpstr>MMA Mission: Architecting the Future of Marketing While Relentlessly Delivering Growth Today! </vt:lpstr>
      <vt:lpstr>PowerPoint Presentation</vt:lpstr>
      <vt:lpstr>PowerPoint Presentation</vt:lpstr>
      <vt:lpstr>PowerPoint Presentation</vt:lpstr>
      <vt:lpstr>PowerPoint Presentation</vt:lpstr>
      <vt:lpstr>Asking Questions, Sharing Insights</vt:lpstr>
      <vt:lpstr>Maximize OTT performance:  How dynamic creative technologies and AI can influence the streaming advertising landscape</vt:lpstr>
      <vt:lpstr>PowerPoint Presentation</vt:lpstr>
      <vt:lpstr>Via connected, streaming TV services, advertisers can reach more than</vt:lpstr>
      <vt:lpstr>PowerPoint Presentation</vt:lpstr>
      <vt:lpstr>Asking Questions, Sharing Insigh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ini Nagaria</dc:creator>
  <cp:lastModifiedBy>Werner Puchert</cp:lastModifiedBy>
  <cp:revision>213</cp:revision>
  <dcterms:created xsi:type="dcterms:W3CDTF">2020-01-09T15:49:02Z</dcterms:created>
  <dcterms:modified xsi:type="dcterms:W3CDTF">2021-05-12T10:47:18Z</dcterms:modified>
</cp:coreProperties>
</file>